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6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theme/theme7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45" r:id="rId4"/>
    <p:sldMasterId id="2147483788" r:id="rId5"/>
    <p:sldMasterId id="2147483943" r:id="rId6"/>
    <p:sldMasterId id="2147484011" r:id="rId7"/>
    <p:sldMasterId id="2147484079" r:id="rId8"/>
    <p:sldMasterId id="2147484147" r:id="rId9"/>
    <p:sldMasterId id="2147484215" r:id="rId10"/>
    <p:sldMasterId id="2147484283" r:id="rId11"/>
  </p:sldMasterIdLst>
  <p:notesMasterIdLst>
    <p:notesMasterId r:id="rId34"/>
  </p:notesMasterIdLst>
  <p:handoutMasterIdLst>
    <p:handoutMasterId r:id="rId35"/>
  </p:handoutMasterIdLst>
  <p:sldIdLst>
    <p:sldId id="256" r:id="rId12"/>
    <p:sldId id="837" r:id="rId13"/>
    <p:sldId id="838" r:id="rId14"/>
    <p:sldId id="839" r:id="rId15"/>
    <p:sldId id="811" r:id="rId16"/>
    <p:sldId id="812" r:id="rId17"/>
    <p:sldId id="813" r:id="rId18"/>
    <p:sldId id="814" r:id="rId19"/>
    <p:sldId id="815" r:id="rId20"/>
    <p:sldId id="817" r:id="rId21"/>
    <p:sldId id="820" r:id="rId22"/>
    <p:sldId id="821" r:id="rId23"/>
    <p:sldId id="822" r:id="rId24"/>
    <p:sldId id="823" r:id="rId25"/>
    <p:sldId id="824" r:id="rId26"/>
    <p:sldId id="764" r:id="rId27"/>
    <p:sldId id="829" r:id="rId28"/>
    <p:sldId id="830" r:id="rId29"/>
    <p:sldId id="763" r:id="rId30"/>
    <p:sldId id="803" r:id="rId31"/>
    <p:sldId id="804" r:id="rId32"/>
    <p:sldId id="836" r:id="rId33"/>
  </p:sldIdLst>
  <p:sldSz cx="10693400" cy="7561263"/>
  <p:notesSz cx="6724650" cy="9774238"/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E86C2"/>
    <a:srgbClr val="BBD58D"/>
    <a:srgbClr val="FFAF39"/>
    <a:srgbClr val="000000"/>
    <a:srgbClr val="010000"/>
    <a:srgbClr val="E5EEFF"/>
    <a:srgbClr val="B7D7F0"/>
    <a:srgbClr val="D3EAFC"/>
    <a:srgbClr val="D3E5F2"/>
    <a:srgbClr val="B0D1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36" autoAdjust="0"/>
    <p:restoredTop sz="88827" autoAdjust="0"/>
  </p:normalViewPr>
  <p:slideViewPr>
    <p:cSldViewPr snapToGrid="0" snapToObjects="1" showGuides="1">
      <p:cViewPr varScale="1">
        <p:scale>
          <a:sx n="53" d="100"/>
          <a:sy n="53" d="100"/>
        </p:scale>
        <p:origin x="-1668" y="-78"/>
      </p:cViewPr>
      <p:guideLst>
        <p:guide orient="horz" pos="4172"/>
        <p:guide orient="horz" pos="1014"/>
        <p:guide pos="411"/>
        <p:guide pos="6326"/>
      </p:guideLst>
    </p:cSldViewPr>
  </p:slideViewPr>
  <p:outlineViewPr>
    <p:cViewPr>
      <p:scale>
        <a:sx n="33" d="100"/>
        <a:sy n="33" d="100"/>
      </p:scale>
      <p:origin x="0" y="25866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5" d="100"/>
          <a:sy n="55" d="100"/>
        </p:scale>
        <p:origin x="-2803" y="-67"/>
      </p:cViewPr>
      <p:guideLst>
        <p:guide orient="horz" pos="3079"/>
        <p:guide pos="211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eer-ge\Documents\Vortraege\00_Diagramme\Shampoo_transparent_PF200_ADM8302E_f_Grafik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25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ru-RU" dirty="0" smtClean="0"/>
              <a:t>Блеск</a:t>
            </a:r>
            <a:r>
              <a:rPr lang="ru-RU" baseline="0" dirty="0" smtClean="0"/>
              <a:t> – Панельный тест – Натуральные волосы</a:t>
            </a:r>
            <a:endParaRPr lang="de-DE" dirty="0"/>
          </a:p>
        </c:rich>
      </c:tx>
      <c:layout>
        <c:manualLayout>
          <c:xMode val="edge"/>
          <c:yMode val="edge"/>
          <c:x val="0.14194930134374253"/>
          <c:y val="2.2352287450525834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6936515772398425"/>
          <c:y val="0.20556150750579608"/>
          <c:w val="0.6807321101578514"/>
          <c:h val="0.535463318855563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anelist 5'!$K$42</c:f>
              <c:strCache>
                <c:ptCount val="1"/>
                <c:pt idx="0">
                  <c:v>Daylight D65</c:v>
                </c:pt>
              </c:strCache>
            </c:strRef>
          </c:tx>
          <c:invertIfNegative val="0"/>
          <c:cat>
            <c:strRef>
              <c:f>Result!$M$3:$M$4</c:f>
              <c:strCache>
                <c:ptCount val="2"/>
                <c:pt idx="0">
                  <c:v>Shampoo w/o silicone</c:v>
                </c:pt>
                <c:pt idx="1">
                  <c:v>PF 200 </c:v>
                </c:pt>
              </c:strCache>
            </c:strRef>
          </c:cat>
          <c:val>
            <c:numRef>
              <c:f>'Panelist 5'!$K$43:$K$44</c:f>
              <c:numCache>
                <c:formatCode>0.00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val>
        </c:ser>
        <c:ser>
          <c:idx val="1"/>
          <c:order val="1"/>
          <c:tx>
            <c:strRef>
              <c:f>'Panelist 5'!$L$42</c:f>
              <c:strCache>
                <c:ptCount val="1"/>
                <c:pt idx="0">
                  <c:v>Daylight D50</c:v>
                </c:pt>
              </c:strCache>
            </c:strRef>
          </c:tx>
          <c:invertIfNegative val="0"/>
          <c:cat>
            <c:strRef>
              <c:f>Result!$M$3:$M$4</c:f>
              <c:strCache>
                <c:ptCount val="2"/>
                <c:pt idx="0">
                  <c:v>Shampoo w/o silicone</c:v>
                </c:pt>
                <c:pt idx="1">
                  <c:v>PF 200 </c:v>
                </c:pt>
              </c:strCache>
            </c:strRef>
          </c:cat>
          <c:val>
            <c:numRef>
              <c:f>'Panelist 5'!$L$43:$L$44</c:f>
              <c:numCache>
                <c:formatCode>0.00</c:formatCode>
                <c:ptCount val="2"/>
                <c:pt idx="0">
                  <c:v>0.1</c:v>
                </c:pt>
                <c:pt idx="1">
                  <c:v>0.9</c:v>
                </c:pt>
              </c:numCache>
            </c:numRef>
          </c:val>
        </c:ser>
        <c:ser>
          <c:idx val="2"/>
          <c:order val="2"/>
          <c:tx>
            <c:strRef>
              <c:f>'Panelist 5'!$M$42</c:f>
              <c:strCache>
                <c:ptCount val="1"/>
                <c:pt idx="0">
                  <c:v>Storelight</c:v>
                </c:pt>
              </c:strCache>
            </c:strRef>
          </c:tx>
          <c:invertIfNegative val="0"/>
          <c:cat>
            <c:strRef>
              <c:f>Result!$M$3:$M$4</c:f>
              <c:strCache>
                <c:ptCount val="2"/>
                <c:pt idx="0">
                  <c:v>Shampoo w/o silicone</c:v>
                </c:pt>
                <c:pt idx="1">
                  <c:v>PF 200 </c:v>
                </c:pt>
              </c:strCache>
            </c:strRef>
          </c:cat>
          <c:val>
            <c:numRef>
              <c:f>'Panelist 5'!$M$43:$M$44</c:f>
              <c:numCache>
                <c:formatCode>0.00</c:formatCode>
                <c:ptCount val="2"/>
                <c:pt idx="0">
                  <c:v>0.2</c:v>
                </c:pt>
                <c:pt idx="1">
                  <c:v>0.8</c:v>
                </c:pt>
              </c:numCache>
            </c:numRef>
          </c:val>
        </c:ser>
        <c:ser>
          <c:idx val="3"/>
          <c:order val="3"/>
          <c:tx>
            <c:strRef>
              <c:f>'Panelist 5'!$N$42</c:f>
              <c:strCache>
                <c:ptCount val="1"/>
                <c:pt idx="0">
                  <c:v>Incandescant lamp</c:v>
                </c:pt>
              </c:strCache>
            </c:strRef>
          </c:tx>
          <c:invertIfNegative val="0"/>
          <c:cat>
            <c:strRef>
              <c:f>Result!$M$3:$M$4</c:f>
              <c:strCache>
                <c:ptCount val="2"/>
                <c:pt idx="0">
                  <c:v>Shampoo w/o silicone</c:v>
                </c:pt>
                <c:pt idx="1">
                  <c:v>PF 200 </c:v>
                </c:pt>
              </c:strCache>
            </c:strRef>
          </c:cat>
          <c:val>
            <c:numRef>
              <c:f>'Panelist 5'!$N$43:$N$44</c:f>
              <c:numCache>
                <c:formatCode>0.00</c:formatCode>
                <c:ptCount val="2"/>
                <c:pt idx="0">
                  <c:v>0.3</c:v>
                </c:pt>
                <c:pt idx="1">
                  <c:v>0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310400"/>
        <c:axId val="36316288"/>
      </c:barChart>
      <c:catAx>
        <c:axId val="36310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6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63162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6316288"/>
        <c:scaling>
          <c:orientation val="minMax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de-DE"/>
                  <a:t>a.u.</a:t>
                </a:r>
              </a:p>
            </c:rich>
          </c:tx>
          <c:layout>
            <c:manualLayout>
              <c:xMode val="edge"/>
              <c:yMode val="edge"/>
              <c:x val="5.3075205254930764E-2"/>
              <c:y val="0.10488357029636812"/>
            </c:manualLayout>
          </c:layout>
          <c:overlay val="0"/>
        </c:title>
        <c:numFmt formatCode="0.00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6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63104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3.1764342245570169E-2"/>
          <c:y val="0.9025983334669353"/>
          <c:w val="0.93912895574280564"/>
          <c:h val="6.9510847209894117E-2"/>
        </c:manualLayout>
      </c:layout>
      <c:overlay val="0"/>
      <c:spPr>
        <a:solidFill>
          <a:srgbClr val="FFFFFF"/>
        </a:solidFill>
        <a:ln w="3175">
          <a:solidFill>
            <a:srgbClr val="000000"/>
          </a:solidFill>
          <a:prstDash val="solid"/>
        </a:ln>
      </c:spPr>
      <c:txPr>
        <a:bodyPr/>
        <a:lstStyle/>
        <a:p>
          <a:pPr>
            <a:defRPr sz="11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rgbClr val="FFFFFF"/>
    </a:solidFill>
    <a:ln w="3175">
      <a:noFill/>
      <a:prstDash val="solid"/>
    </a:ln>
  </c:spPr>
  <c:txPr>
    <a:bodyPr/>
    <a:lstStyle/>
    <a:p>
      <a:pPr>
        <a:defRPr sz="1525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1"/>
          <c:order val="0"/>
          <c:tx>
            <c:strRef>
              <c:f>'Wet C'!$B$1</c:f>
              <c:strCache>
                <c:ptCount val="1"/>
                <c:pt idx="0">
                  <c:v>Wet Combing Force Reduction
 [%]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cat>
            <c:strRef>
              <c:f>'Wet C'!$A$2:$A$3</c:f>
              <c:strCache>
                <c:ptCount val="2"/>
                <c:pt idx="0">
                  <c:v>Base w/o silicone</c:v>
                </c:pt>
                <c:pt idx="1">
                  <c:v>BELSIL® PF 200</c:v>
                </c:pt>
              </c:strCache>
            </c:strRef>
          </c:cat>
          <c:val>
            <c:numRef>
              <c:f>'Wet C'!$B$2:$B$3</c:f>
              <c:numCache>
                <c:formatCode>General</c:formatCode>
                <c:ptCount val="2"/>
                <c:pt idx="0">
                  <c:v>1</c:v>
                </c:pt>
                <c:pt idx="1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3604736"/>
        <c:axId val="164589568"/>
      </c:barChart>
      <c:catAx>
        <c:axId val="163604736"/>
        <c:scaling>
          <c:orientation val="minMax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64589568"/>
        <c:crosses val="autoZero"/>
        <c:auto val="1"/>
        <c:lblAlgn val="ctr"/>
        <c:lblOffset val="100"/>
        <c:noMultiLvlLbl val="0"/>
      </c:catAx>
      <c:valAx>
        <c:axId val="164589568"/>
        <c:scaling>
          <c:orientation val="minMax"/>
          <c:max val="30"/>
          <c:min val="0"/>
        </c:scaling>
        <c:delete val="0"/>
        <c:axPos val="b"/>
        <c:majorGridlines>
          <c:spPr>
            <a:ln w="6350"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/>
              <a:lstStyle/>
              <a:p>
                <a:pPr>
                  <a:defRPr sz="1400"/>
                </a:pPr>
                <a:r>
                  <a:rPr lang="en-US" sz="1400"/>
                  <a:t>Wet combing force reduction [%]</a:t>
                </a:r>
              </a:p>
            </c:rich>
          </c:tx>
          <c:layout>
            <c:manualLayout>
              <c:xMode val="edge"/>
              <c:yMode val="edge"/>
              <c:x val="0.34687340514727327"/>
              <c:y val="0.9155200164107743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 sz="1400" b="1"/>
            </a:pPr>
            <a:endParaRPr lang="en-US"/>
          </a:p>
        </c:txPr>
        <c:crossAx val="163604736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4.v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53.emf"/><Relationship Id="rId1" Type="http://schemas.openxmlformats.org/officeDocument/2006/relationships/image" Target="../media/image5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4015" cy="488712"/>
          </a:xfrm>
          <a:prstGeom prst="rect">
            <a:avLst/>
          </a:prstGeom>
        </p:spPr>
        <p:txBody>
          <a:bodyPr vert="horz" lIns="90476" tIns="45238" rIns="90476" bIns="45238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09080" y="0"/>
            <a:ext cx="2914015" cy="488712"/>
          </a:xfrm>
          <a:prstGeom prst="rect">
            <a:avLst/>
          </a:prstGeom>
        </p:spPr>
        <p:txBody>
          <a:bodyPr vert="horz" lIns="90476" tIns="45238" rIns="90476" bIns="45238" rtlCol="0"/>
          <a:lstStyle>
            <a:lvl1pPr algn="r">
              <a:defRPr sz="1200"/>
            </a:lvl1pPr>
          </a:lstStyle>
          <a:p>
            <a:fld id="{B286194C-0C26-42E6-A7F6-AF66F4884D50}" type="datetimeFigureOut">
              <a:rPr lang="en-US" smtClean="0">
                <a:latin typeface="Arial" pitchFamily="34" charset="0"/>
              </a:rPr>
              <a:t>9/20/2017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283830"/>
            <a:ext cx="2914015" cy="488712"/>
          </a:xfrm>
          <a:prstGeom prst="rect">
            <a:avLst/>
          </a:prstGeom>
        </p:spPr>
        <p:txBody>
          <a:bodyPr vert="horz" lIns="90476" tIns="45238" rIns="90476" bIns="45238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09080" y="9283830"/>
            <a:ext cx="2914015" cy="488712"/>
          </a:xfrm>
          <a:prstGeom prst="rect">
            <a:avLst/>
          </a:prstGeom>
        </p:spPr>
        <p:txBody>
          <a:bodyPr vert="horz" lIns="90476" tIns="45238" rIns="90476" bIns="45238" rtlCol="0" anchor="b"/>
          <a:lstStyle>
            <a:lvl1pPr algn="r">
              <a:defRPr sz="1200"/>
            </a:lvl1pPr>
          </a:lstStyle>
          <a:p>
            <a:fld id="{AD9677C3-EA12-4933-9D3A-8FD5EF406CA4}" type="slidenum">
              <a:rPr lang="en-US" smtClean="0">
                <a:latin typeface="Arial" pitchFamily="34" charset="0"/>
              </a:r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00367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4015" cy="488712"/>
          </a:xfrm>
          <a:prstGeom prst="rect">
            <a:avLst/>
          </a:prstGeom>
        </p:spPr>
        <p:txBody>
          <a:bodyPr vert="horz" lIns="90476" tIns="45238" rIns="90476" bIns="45238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09080" y="0"/>
            <a:ext cx="2914015" cy="488712"/>
          </a:xfrm>
          <a:prstGeom prst="rect">
            <a:avLst/>
          </a:prstGeom>
        </p:spPr>
        <p:txBody>
          <a:bodyPr vert="horz" lIns="90476" tIns="45238" rIns="90476" bIns="45238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7ED4581-E804-4442-8F4D-197417F436FB}" type="datetimeFigureOut">
              <a:rPr lang="de-DE" smtClean="0"/>
              <a:pPr/>
              <a:t>20.09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71525" y="733425"/>
            <a:ext cx="5181600" cy="36639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76" tIns="45238" rIns="90476" bIns="45238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2465" y="4642767"/>
            <a:ext cx="5379720" cy="4398407"/>
          </a:xfrm>
          <a:prstGeom prst="rect">
            <a:avLst/>
          </a:prstGeom>
        </p:spPr>
        <p:txBody>
          <a:bodyPr vert="horz" lIns="90476" tIns="45238" rIns="90476" bIns="45238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283830"/>
            <a:ext cx="2914015" cy="488712"/>
          </a:xfrm>
          <a:prstGeom prst="rect">
            <a:avLst/>
          </a:prstGeom>
        </p:spPr>
        <p:txBody>
          <a:bodyPr vert="horz" lIns="90476" tIns="45238" rIns="90476" bIns="45238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09080" y="9283830"/>
            <a:ext cx="2914015" cy="488712"/>
          </a:xfrm>
          <a:prstGeom prst="rect">
            <a:avLst/>
          </a:prstGeom>
        </p:spPr>
        <p:txBody>
          <a:bodyPr vert="horz" lIns="90476" tIns="45238" rIns="90476" bIns="45238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A3F05E3C-A148-4669-9307-9458DB6716A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47031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63F9356-0436-4D37-9E6E-605DEB522AAB}" type="datetime1">
              <a:rPr lang="en-US" smtClean="0"/>
              <a:t>9/20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1901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C711B91-3114-4DFE-92E4-F6C90D32E8E4}" type="datetime1">
              <a:rPr lang="en-US" smtClean="0"/>
              <a:t>9/20/2017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22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B72CBF3-3E64-464F-9FCE-55F76DA21FAF}" type="datetime1">
              <a:rPr lang="en-US" smtClean="0">
                <a:solidFill>
                  <a:prstClr val="black"/>
                </a:solidFill>
              </a:rPr>
              <a:pPr/>
              <a:t>9/20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421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9F078CE-22EF-463A-B312-FF58ED9D2BEA}" type="datetime1">
              <a:rPr lang="de-DE" smtClean="0"/>
              <a:t>20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5520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63F9356-0436-4D37-9E6E-605DEB522AAB}" type="datetime1">
              <a:rPr lang="en-US" smtClean="0">
                <a:solidFill>
                  <a:prstClr val="black"/>
                </a:solidFill>
              </a:rPr>
              <a:pPr/>
              <a:t>9/20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1901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2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dirty="0" smtClean="0"/>
          </a:p>
        </p:txBody>
      </p:sp>
      <p:sp>
        <p:nvSpPr>
          <p:cNvPr id="13312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29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7909" indent="-287658" defTabSz="92529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50629" indent="-230126" defTabSz="92529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10881" indent="-230126" defTabSz="92529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71132" indent="-230126" defTabSz="92529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31384" indent="-230126" algn="ctr" defTabSz="925298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91635" indent="-230126" algn="ctr" defTabSz="925298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51887" indent="-230126" algn="ctr" defTabSz="925298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912138" indent="-230126" algn="ctr" defTabSz="925298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A9B7667-316C-4558-9385-63E3387D6A6D}" type="slidenum">
              <a:rPr lang="en-US" sz="900">
                <a:solidFill>
                  <a:prstClr val="black"/>
                </a:solidFill>
              </a:rPr>
              <a:pPr eaLnBrk="1" hangingPunct="1"/>
              <a:t>5</a:t>
            </a:fld>
            <a:endParaRPr lang="en-US" sz="900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66247">
              <a:defRPr/>
            </a:pPr>
            <a:endParaRPr lang="de-DE" b="0" baseline="0" dirty="0" smtClean="0"/>
          </a:p>
          <a:p>
            <a:endParaRPr lang="de-DE" b="0" baseline="0" dirty="0" smtClean="0"/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54D57103-D07C-415F-AC46-9061902FA635}" type="datetime1">
              <a:rPr lang="de-DE" smtClean="0">
                <a:solidFill>
                  <a:prstClr val="black"/>
                </a:solidFill>
              </a:rPr>
              <a:pPr/>
              <a:t>20.09.2017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de-DE" smtClean="0">
                <a:solidFill>
                  <a:prstClr val="black"/>
                </a:solidFill>
              </a:rPr>
              <a:pPr/>
              <a:t>12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3217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54553">
              <a:defRPr/>
            </a:pPr>
            <a:endParaRPr lang="de-DE" b="0" baseline="0" dirty="0" smtClean="0"/>
          </a:p>
          <a:p>
            <a:endParaRPr lang="de-DE" b="0" baseline="0" dirty="0" smtClean="0"/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54D57103-D07C-415F-AC46-9061902FA635}" type="datetime1">
              <a:rPr lang="de-DE" smtClean="0">
                <a:solidFill>
                  <a:prstClr val="black"/>
                </a:solidFill>
              </a:rPr>
              <a:pPr/>
              <a:t>20.09.2017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de-DE" smtClean="0">
                <a:solidFill>
                  <a:prstClr val="black"/>
                </a:solidFill>
              </a:rPr>
              <a:pPr/>
              <a:t>15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3217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63F9356-0436-4D37-9E6E-605DEB522AAB}" type="datetime1">
              <a:rPr lang="en-US" smtClean="0">
                <a:solidFill>
                  <a:prstClr val="black"/>
                </a:solidFill>
              </a:rPr>
              <a:pPr/>
              <a:t>9/20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190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2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dirty="0" smtClean="0"/>
          </a:p>
        </p:txBody>
      </p:sp>
      <p:sp>
        <p:nvSpPr>
          <p:cNvPr id="13312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947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35118" indent="-282738" defTabSz="90947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30950" indent="-226190" defTabSz="90947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83331" indent="-226190" defTabSz="90947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35711" indent="-226190" defTabSz="90947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88091" indent="-226190" algn="ctr" defTabSz="909473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40471" indent="-226190" algn="ctr" defTabSz="909473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92851" indent="-226190" algn="ctr" defTabSz="909473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5231" indent="-226190" algn="ctr" defTabSz="909473" eaLnBrk="0" fontAlgn="base" hangingPunct="0">
              <a:spcBef>
                <a:spcPct val="5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A9B7667-316C-4558-9385-63E3387D6A6D}" type="slidenum">
              <a:rPr lang="en-US" sz="900">
                <a:solidFill>
                  <a:prstClr val="black"/>
                </a:solidFill>
              </a:rPr>
              <a:pPr eaLnBrk="1" hangingPunct="1"/>
              <a:t>17</a:t>
            </a:fld>
            <a:endParaRPr lang="en-US" sz="900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e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e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hyperlink" Target="http://zglobeteams/copi/S_MS432-PersonalCare/Sales_Marketing/Photos%20%20Graphs/Photos%20Models/Leis_D361_M07_0116_1_Powerpoint.jpg" TargetMode="External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jpe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1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jpe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jpe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hyperlink" Target="http://zglobeteams/copi/S_MS432-PersonalCare/Sales_Marketing/Photos%20%20Graphs/Photos%20Models/Leis_D361_M07_0116_1_Powerpoint.jpg" TargetMode="External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e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jpeg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.jpe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4.jpeg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9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0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hyperlink" Target="http://zglobeteams/copi/S_MS432-PersonalCare/Sales_Marketing/Photos%20%20Graphs/Photos%20Models/Leis_D361_M07_0116_1_Powerpoint.jpg" TargetMode="External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jpe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jpe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jpe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2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jpeg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jpeg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4.jpeg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4.jpeg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9.jpe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10.jpeg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hyperlink" Target="http://zglobeteams/copi/S_MS432-PersonalCare/Sales_Marketing/Photos%20%20Graphs/Photos%20Models/Leis_D361_M07_0116_1_Powerpoint.jpg" TargetMode="External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jpe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jpe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1.jpe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jpe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3.jpeg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4.jpeg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3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4.jpeg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9.jpe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10.jpeg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hyperlink" Target="http://zglobeteams/copi/S_MS432-PersonalCare/Sales_Marketing/Photos%20%20Graphs/Photos%20Models/Leis_D361_M07_0116_1_Powerpoint.jpg" TargetMode="External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jpe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jpeg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jpe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2.jpe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3.jpeg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4.jpeg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3.jpe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4.jpeg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7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7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9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0.jpeg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7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7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hyperlink" Target="http://zglobeteams/copi/S_MS432-PersonalCare/Sales_Marketing/Photos%20%20Graphs/Photos%20Models/Leis_D361_M07_0116_1_Powerpoint.jpg" TargetMode="External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jpeg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0.jpeg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2.jpeg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jpeg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7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7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7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7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7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4.jpeg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3.jpeg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4.jpeg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8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9.jpeg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10.jpeg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8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8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hyperlink" Target="http://zglobeteams/copi/S_MS432-PersonalCare/Sales_Marketing/Photos%20%20Graphs/Photos%20Models/Leis_D361_M07_0116_1_Powerpoint.jpg" TargetMode="External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6.jpeg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0.jpeg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jpeg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jpeg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jpeg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8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8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8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8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4.jpeg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8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9.jpe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0.jpe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.jpe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 descr="PPT_Titel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642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159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TOMORROW`S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5561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688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80"/>
            <a:ext cx="10699833" cy="756104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923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40461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4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582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57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8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047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haltsplatzhalt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0681494" cy="754808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547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693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9" y="2359"/>
            <a:ext cx="10693403" cy="7558904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319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700141" cy="7561263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961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4098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88" y="1234534"/>
            <a:ext cx="10691812" cy="56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8" name="Picture 4" descr="Picture">
            <a:hlinkClick r:id="rId3"/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2" b="29564"/>
          <a:stretch/>
        </p:blipFill>
        <p:spPr bwMode="auto">
          <a:xfrm>
            <a:off x="19102" y="1244131"/>
            <a:ext cx="10674297" cy="5665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856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67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0085" name="Picture 1061" descr="C:\Users\schwarz-cl\Pictures\Powerpoint_Intro\PPT_Titel_PC_15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49"/>
          <a:stretch/>
        </p:blipFill>
        <p:spPr bwMode="auto">
          <a:xfrm>
            <a:off x="8712" y="13020"/>
            <a:ext cx="10672782" cy="754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1551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9" y="2359"/>
            <a:ext cx="10693403" cy="7558904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0129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779" indent="-342779" algn="r" defTabSz="1042688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79" lvl="0" indent="-342779" algn="r" defTabSz="1042688" eaLnBrk="0" fontAlgn="auto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599" y="1544638"/>
            <a:ext cx="9388801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97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20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36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9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2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00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331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477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2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574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00376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700141" cy="7561263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5164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9721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64608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14182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58084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257801" y="1598400"/>
            <a:ext cx="4782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8" name="Picture 2" descr="C:\Users\zeilerros\Desktop\Neuer Ordner\Mus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598400"/>
            <a:ext cx="3069527" cy="279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259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4603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43052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5961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89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5317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4098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88" y="1234534"/>
            <a:ext cx="10691812" cy="56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8" name="Picture 4" descr="Picture">
            <a:hlinkClick r:id="rId3"/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2" b="29564"/>
          <a:stretch/>
        </p:blipFill>
        <p:spPr bwMode="auto">
          <a:xfrm>
            <a:off x="19102" y="1244131"/>
            <a:ext cx="10674297" cy="5665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757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56841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1463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33854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9720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491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25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777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1933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566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964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4993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0085" name="Picture 1061" descr="C:\Users\schwarz-cl\Pictures\Powerpoint_Intro\PPT_Titel_PC_15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49"/>
          <a:stretch/>
        </p:blipFill>
        <p:spPr bwMode="auto">
          <a:xfrm>
            <a:off x="8712" y="13020"/>
            <a:ext cx="10672782" cy="754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7533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8813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32299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3434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3215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73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4002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751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Rechteck 12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264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37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31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779" indent="-342779" algn="r" defTabSz="1042688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79" lvl="0" indent="-342779" algn="r" defTabSz="1042688" eaLnBrk="0" fontAlgn="auto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599" y="1544638"/>
            <a:ext cx="9388801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86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42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641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885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540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045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417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660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4908" y="1763713"/>
            <a:ext cx="4734809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2095" y="1763713"/>
            <a:ext cx="4736397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802103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2846303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3498766" y="1652588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3613533" y="1544638"/>
            <a:ext cx="6426867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87187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923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6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3438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69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23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5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 descr="PPT_Titel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96262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0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06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5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4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756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81494" cy="7548086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5963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393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642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80"/>
            <a:ext cx="10699833" cy="756104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636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9066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8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534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8892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2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221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65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haltsplatzhalt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0681494" cy="754808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072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4514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9" y="2359"/>
            <a:ext cx="10693403" cy="7558904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833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700141" cy="7561263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366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4098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88" y="1234534"/>
            <a:ext cx="10691812" cy="56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8" name="Picture 4" descr="Picture">
            <a:hlinkClick r:id="rId3"/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2" b="29564"/>
          <a:stretch/>
        </p:blipFill>
        <p:spPr bwMode="auto">
          <a:xfrm>
            <a:off x="19102" y="1244131"/>
            <a:ext cx="10674297" cy="5665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005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264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0085" name="Picture 1061" descr="C:\Users\schwarz-cl\Pictures\Powerpoint_Intro\PPT_Titel_PC_15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49"/>
          <a:stretch/>
        </p:blipFill>
        <p:spPr bwMode="auto">
          <a:xfrm>
            <a:off x="8712" y="13020"/>
            <a:ext cx="10672782" cy="754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1936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779" indent="-342779" algn="r" defTabSz="1042688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79" lvl="0" indent="-342779" algn="r" defTabSz="1042688" eaLnBrk="0" fontAlgn="auto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599" y="1544638"/>
            <a:ext cx="9388801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48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02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40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15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88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2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19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3592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68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09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19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6673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638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22021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169574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638231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2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79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257801" y="1598400"/>
            <a:ext cx="4782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8" name="Picture 2" descr="C:\Users\zeilerros\Desktop\Neuer Ordner\Mus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598400"/>
            <a:ext cx="3069527" cy="279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4540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3724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188580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6335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1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3477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18916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8474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913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6506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1299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7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2318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043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842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377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025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390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830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7377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838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130094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76390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9686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764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943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72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272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Rechteck 12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88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11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1168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79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915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8026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173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0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37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30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109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4908" y="1763713"/>
            <a:ext cx="4734809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2095" y="1763713"/>
            <a:ext cx="4736397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72441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2846303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3498766" y="1652588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3613533" y="1544638"/>
            <a:ext cx="6426867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46774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8050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0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697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22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83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 descr="PPT_Titel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429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4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8277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88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382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8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99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81494" cy="7548086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950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971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0273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80"/>
            <a:ext cx="10699833" cy="756104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73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701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2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22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488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6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38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haltsplatzhalt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0681494" cy="754808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994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004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9" y="2359"/>
            <a:ext cx="10693403" cy="7558904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948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7769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700141" cy="7561263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234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4098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88" y="1234534"/>
            <a:ext cx="10691812" cy="56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8" name="Picture 4" descr="Picture">
            <a:hlinkClick r:id="rId3"/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2" b="29564"/>
          <a:stretch/>
        </p:blipFill>
        <p:spPr bwMode="auto">
          <a:xfrm>
            <a:off x="19102" y="1244131"/>
            <a:ext cx="10674297" cy="5665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955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1972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0085" name="Picture 1061" descr="C:\Users\schwarz-cl\Pictures\Powerpoint_Intro\PPT_Titel_PC_15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49"/>
          <a:stretch/>
        </p:blipFill>
        <p:spPr bwMode="auto">
          <a:xfrm>
            <a:off x="8712" y="13020"/>
            <a:ext cx="10672782" cy="754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439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779" indent="-342779" algn="r" defTabSz="1042688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79" lvl="0" indent="-342779" algn="r" defTabSz="1042688" eaLnBrk="0" fontAlgn="auto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599" y="1544638"/>
            <a:ext cx="9388801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157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55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65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43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2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9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496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18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8699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272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53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2219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2287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24491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0239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64917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257801" y="1598400"/>
            <a:ext cx="4782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8" name="Picture 2" descr="C:\Users\zeilerros\Desktop\Neuer Ordner\Mus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598400"/>
            <a:ext cx="3069527" cy="279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6640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3291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047533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632137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598680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44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2822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8163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9336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65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4184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97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486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251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10884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348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6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1808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815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5757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1929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49466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1293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676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62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473109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Rechteck 12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412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082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480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185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66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028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70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25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384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257801" y="1598400"/>
            <a:ext cx="4782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8" name="Picture 2" descr="C:\Users\zeilerros\Desktop\Neuer Ordner\Mus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598400"/>
            <a:ext cx="3069527" cy="279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236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971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4908" y="1763713"/>
            <a:ext cx="4734809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2095" y="1763713"/>
            <a:ext cx="4736397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784887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2846303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3498766" y="1652588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3613533" y="1544638"/>
            <a:ext cx="6426867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6997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9331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4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6332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02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90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 descr="PPT_Titel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5893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8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482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232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2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6907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81494" cy="7548086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355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068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81494" cy="7548086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8776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5319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278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80"/>
            <a:ext cx="10699833" cy="756104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464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4591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6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734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029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0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181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haltsplatzhalt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0681494" cy="754808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204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352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9" y="2359"/>
            <a:ext cx="10693403" cy="7558904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766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700141" cy="7561263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234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4098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88" y="1234534"/>
            <a:ext cx="10691812" cy="56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8" name="Picture 4" descr="Picture">
            <a:hlinkClick r:id="rId3"/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2" b="29564"/>
          <a:stretch/>
        </p:blipFill>
        <p:spPr bwMode="auto">
          <a:xfrm>
            <a:off x="19102" y="1244131"/>
            <a:ext cx="10674297" cy="5665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39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894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0085" name="Picture 1061" descr="C:\Users\schwarz-cl\Pictures\Powerpoint_Intro\PPT_Titel_PC_15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49"/>
          <a:stretch/>
        </p:blipFill>
        <p:spPr bwMode="auto">
          <a:xfrm>
            <a:off x="8712" y="13020"/>
            <a:ext cx="10672782" cy="754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016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4467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779" indent="-342779" algn="r" defTabSz="1042688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79" lvl="0" indent="-342779" algn="r" defTabSz="1042688" eaLnBrk="0" fontAlgn="auto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599" y="1544638"/>
            <a:ext cx="9388801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99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5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99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96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2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4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7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30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46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2097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02008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0244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603464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19867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14262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257801" y="1598400"/>
            <a:ext cx="4782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8" name="Picture 2" descr="C:\Users\zeilerros\Desktop\Neuer Ordner\Mus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598400"/>
            <a:ext cx="3069527" cy="279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933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557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6015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049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73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38806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52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34732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7930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3381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23953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32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079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5752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066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512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5381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5173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528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03636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6610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4538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02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221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36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Rechteck 12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22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802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2773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96656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051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12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57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4848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212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51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504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6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4908" y="1763713"/>
            <a:ext cx="4734809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2095" y="1763713"/>
            <a:ext cx="4736397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898681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2846303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3498766" y="1652588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3613533" y="1544638"/>
            <a:ext cx="6426867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21626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3763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990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8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924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96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2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 descr="PPT_Titel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945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2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156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8918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6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352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81494" cy="7548086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93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607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655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80"/>
            <a:ext cx="10699833" cy="756104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126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693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0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173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3666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7812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4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448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haltsplatzhalt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0681494" cy="754808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414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227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9" y="2359"/>
            <a:ext cx="10693403" cy="7558904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02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700141" cy="7561263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905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4098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88" y="1234534"/>
            <a:ext cx="10691812" cy="56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8" name="Picture 4" descr="Picture">
            <a:hlinkClick r:id="rId3"/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2" b="29564"/>
          <a:stretch/>
        </p:blipFill>
        <p:spPr bwMode="auto">
          <a:xfrm>
            <a:off x="19102" y="1244131"/>
            <a:ext cx="10674297" cy="5665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381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238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0085" name="Picture 1061" descr="C:\Users\schwarz-cl\Pictures\Powerpoint_Intro\PPT_Titel_PC_15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49"/>
          <a:stretch/>
        </p:blipFill>
        <p:spPr bwMode="auto">
          <a:xfrm>
            <a:off x="8712" y="13020"/>
            <a:ext cx="10672782" cy="754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843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779" indent="-342779" algn="r" defTabSz="1042688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79" lvl="0" indent="-342779" algn="r" defTabSz="1042688" eaLnBrk="0" fontAlgn="auto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599" y="1544638"/>
            <a:ext cx="9388801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75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08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44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3974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06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2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77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817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5342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89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26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4129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341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130727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010243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00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02075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257801" y="1598400"/>
            <a:ext cx="4782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8" name="Picture 2" descr="C:\Users\zeilerros\Desktop\Neuer Ordner\Mus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598400"/>
            <a:ext cx="3069527" cy="279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735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4949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15416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806455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15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1273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9134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39309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28172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7353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337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3760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04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21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780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735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914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1196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955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634410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5305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3831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09801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47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30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6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Rechteck 12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80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8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34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57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56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68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157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60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866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1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798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282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4908" y="1763713"/>
            <a:ext cx="4734809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2095" y="1763713"/>
            <a:ext cx="4736397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292889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2846303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3498766" y="1652588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3613533" y="1544638"/>
            <a:ext cx="6426867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64660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0897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2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462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13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73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812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 descr="PPT_Titel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171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6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580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656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0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60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81494" cy="7548086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778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853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123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80"/>
            <a:ext cx="10699833" cy="756104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529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160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4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34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8187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8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5065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haltsplatzhalt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0681494" cy="754808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514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64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1555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9" y="2359"/>
            <a:ext cx="10693403" cy="7558904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388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700141" cy="7561263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964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4098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88" y="1234534"/>
            <a:ext cx="10691812" cy="56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8" name="Picture 4" descr="Picture">
            <a:hlinkClick r:id="rId3"/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2" b="29564"/>
          <a:stretch/>
        </p:blipFill>
        <p:spPr bwMode="auto">
          <a:xfrm>
            <a:off x="19102" y="1244131"/>
            <a:ext cx="10674297" cy="5665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110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730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0085" name="Picture 1061" descr="C:\Users\schwarz-cl\Pictures\Powerpoint_Intro\PPT_Titel_PC_15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49"/>
          <a:stretch/>
        </p:blipFill>
        <p:spPr bwMode="auto">
          <a:xfrm>
            <a:off x="8712" y="13020"/>
            <a:ext cx="10672782" cy="754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7133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779" indent="-342779" algn="r" defTabSz="1042688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79" lvl="0" indent="-342779" algn="r" defTabSz="1042688" eaLnBrk="0" fontAlgn="auto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599" y="1544638"/>
            <a:ext cx="9388801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15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07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17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03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2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50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196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231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4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98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02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3440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41308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93763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9367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11297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257801" y="1598400"/>
            <a:ext cx="4782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8" name="Picture 2" descr="C:\Users\zeilerros\Desktop\Neuer Ordner\Mus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598400"/>
            <a:ext cx="3069527" cy="279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473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5032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74471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792811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13452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45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84039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77004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0232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9020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8509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6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65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1178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5830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643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779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51158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932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09747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0824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9697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454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230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14190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71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Rechteck 12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7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895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859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00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762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rgbClr val="31313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402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280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45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42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525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TOMORROW`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313131"/>
                </a:solidFill>
              </a:rPr>
              <a:t>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915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4908" y="1763713"/>
            <a:ext cx="4734809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2095" y="1763713"/>
            <a:ext cx="4736397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1328253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2846303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3498766" y="1652588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3613533" y="1544638"/>
            <a:ext cx="6426867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58983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047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6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008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629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Inhaltsplatzhalt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11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47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7353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857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585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Rechteck 12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77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3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88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79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83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57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383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950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80"/>
            <a:ext cx="10699833" cy="756104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29175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92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TOMORROW`S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8504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8" name="Inhaltsplatzhalter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2463" y="1609725"/>
            <a:ext cx="4410075" cy="3594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640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4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4908" y="1763713"/>
            <a:ext cx="4734809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2095" y="1763713"/>
            <a:ext cx="4736397" cy="49911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03773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Ziran.X\Desktop\3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0691812" cy="755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" name="Gruppieren 31"/>
          <p:cNvGrpSpPr/>
          <p:nvPr userDrawn="1"/>
        </p:nvGrpSpPr>
        <p:grpSpPr bwMode="gray">
          <a:xfrm>
            <a:off x="8664575" y="6584949"/>
            <a:ext cx="1377950" cy="204788"/>
            <a:chOff x="4659313" y="3679825"/>
            <a:chExt cx="1377950" cy="204788"/>
          </a:xfrm>
        </p:grpSpPr>
        <p:sp>
          <p:nvSpPr>
            <p:cNvPr id="18" name="Freeform 18"/>
            <p:cNvSpPr>
              <a:spLocks/>
            </p:cNvSpPr>
            <p:nvPr userDrawn="1"/>
          </p:nvSpPr>
          <p:spPr bwMode="gray">
            <a:xfrm>
              <a:off x="5170488" y="3679825"/>
              <a:ext cx="866775" cy="204788"/>
            </a:xfrm>
            <a:custGeom>
              <a:avLst/>
              <a:gdLst>
                <a:gd name="T0" fmla="*/ 231 w 231"/>
                <a:gd name="T1" fmla="*/ 48 h 55"/>
                <a:gd name="T2" fmla="*/ 231 w 231"/>
                <a:gd name="T3" fmla="*/ 7 h 55"/>
                <a:gd name="T4" fmla="*/ 224 w 231"/>
                <a:gd name="T5" fmla="*/ 0 h 55"/>
                <a:gd name="T6" fmla="*/ 0 w 231"/>
                <a:gd name="T7" fmla="*/ 0 h 55"/>
                <a:gd name="T8" fmla="*/ 0 w 231"/>
                <a:gd name="T9" fmla="*/ 4 h 55"/>
                <a:gd name="T10" fmla="*/ 224 w 231"/>
                <a:gd name="T11" fmla="*/ 4 h 55"/>
                <a:gd name="T12" fmla="*/ 228 w 231"/>
                <a:gd name="T13" fmla="*/ 7 h 55"/>
                <a:gd name="T14" fmla="*/ 228 w 231"/>
                <a:gd name="T15" fmla="*/ 48 h 55"/>
                <a:gd name="T16" fmla="*/ 224 w 231"/>
                <a:gd name="T17" fmla="*/ 51 h 55"/>
                <a:gd name="T18" fmla="*/ 0 w 231"/>
                <a:gd name="T19" fmla="*/ 51 h 55"/>
                <a:gd name="T20" fmla="*/ 0 w 231"/>
                <a:gd name="T21" fmla="*/ 55 h 55"/>
                <a:gd name="T22" fmla="*/ 224 w 231"/>
                <a:gd name="T23" fmla="*/ 55 h 55"/>
                <a:gd name="T24" fmla="*/ 231 w 231"/>
                <a:gd name="T25" fmla="*/ 48 h 55"/>
                <a:gd name="T26" fmla="*/ 231 w 231"/>
                <a:gd name="T27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1" h="55">
                  <a:moveTo>
                    <a:pt x="231" y="48"/>
                  </a:moveTo>
                  <a:cubicBezTo>
                    <a:pt x="231" y="7"/>
                    <a:pt x="231" y="7"/>
                    <a:pt x="231" y="7"/>
                  </a:cubicBezTo>
                  <a:cubicBezTo>
                    <a:pt x="231" y="3"/>
                    <a:pt x="228" y="0"/>
                    <a:pt x="2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24" y="4"/>
                    <a:pt x="224" y="4"/>
                    <a:pt x="224" y="4"/>
                  </a:cubicBezTo>
                  <a:cubicBezTo>
                    <a:pt x="226" y="4"/>
                    <a:pt x="228" y="5"/>
                    <a:pt x="228" y="7"/>
                  </a:cubicBezTo>
                  <a:cubicBezTo>
                    <a:pt x="228" y="48"/>
                    <a:pt x="228" y="48"/>
                    <a:pt x="228" y="48"/>
                  </a:cubicBezTo>
                  <a:cubicBezTo>
                    <a:pt x="228" y="50"/>
                    <a:pt x="226" y="51"/>
                    <a:pt x="224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24" y="55"/>
                    <a:pt x="224" y="55"/>
                    <a:pt x="224" y="55"/>
                  </a:cubicBezTo>
                  <a:cubicBezTo>
                    <a:pt x="228" y="55"/>
                    <a:pt x="231" y="52"/>
                    <a:pt x="231" y="48"/>
                  </a:cubicBezTo>
                  <a:cubicBezTo>
                    <a:pt x="231" y="48"/>
                    <a:pt x="231" y="48"/>
                    <a:pt x="231" y="48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9"/>
            <p:cNvSpPr>
              <a:spLocks noEditPoints="1"/>
            </p:cNvSpPr>
            <p:nvPr userDrawn="1"/>
          </p:nvSpPr>
          <p:spPr bwMode="gray">
            <a:xfrm>
              <a:off x="4659313" y="3732213"/>
              <a:ext cx="1328738" cy="104775"/>
            </a:xfrm>
            <a:custGeom>
              <a:avLst/>
              <a:gdLst>
                <a:gd name="T0" fmla="*/ 334 w 354"/>
                <a:gd name="T1" fmla="*/ 0 h 28"/>
                <a:gd name="T2" fmla="*/ 343 w 354"/>
                <a:gd name="T3" fmla="*/ 28 h 28"/>
                <a:gd name="T4" fmla="*/ 299 w 354"/>
                <a:gd name="T5" fmla="*/ 28 h 28"/>
                <a:gd name="T6" fmla="*/ 311 w 354"/>
                <a:gd name="T7" fmla="*/ 28 h 28"/>
                <a:gd name="T8" fmla="*/ 323 w 354"/>
                <a:gd name="T9" fmla="*/ 28 h 28"/>
                <a:gd name="T10" fmla="*/ 313 w 354"/>
                <a:gd name="T11" fmla="*/ 23 h 28"/>
                <a:gd name="T12" fmla="*/ 299 w 354"/>
                <a:gd name="T13" fmla="*/ 28 h 28"/>
                <a:gd name="T14" fmla="*/ 280 w 354"/>
                <a:gd name="T15" fmla="*/ 25 h 28"/>
                <a:gd name="T16" fmla="*/ 280 w 354"/>
                <a:gd name="T17" fmla="*/ 12 h 28"/>
                <a:gd name="T18" fmla="*/ 276 w 354"/>
                <a:gd name="T19" fmla="*/ 0 h 28"/>
                <a:gd name="T20" fmla="*/ 258 w 354"/>
                <a:gd name="T21" fmla="*/ 28 h 28"/>
                <a:gd name="T22" fmla="*/ 249 w 354"/>
                <a:gd name="T23" fmla="*/ 28 h 28"/>
                <a:gd name="T24" fmla="*/ 268 w 354"/>
                <a:gd name="T25" fmla="*/ 14 h 28"/>
                <a:gd name="T26" fmla="*/ 253 w 354"/>
                <a:gd name="T27" fmla="*/ 3 h 28"/>
                <a:gd name="T28" fmla="*/ 239 w 354"/>
                <a:gd name="T29" fmla="*/ 19 h 28"/>
                <a:gd name="T30" fmla="*/ 231 w 354"/>
                <a:gd name="T31" fmla="*/ 0 h 28"/>
                <a:gd name="T32" fmla="*/ 233 w 354"/>
                <a:gd name="T33" fmla="*/ 4 h 28"/>
                <a:gd name="T34" fmla="*/ 233 w 354"/>
                <a:gd name="T35" fmla="*/ 4 h 28"/>
                <a:gd name="T36" fmla="*/ 208 w 354"/>
                <a:gd name="T37" fmla="*/ 28 h 28"/>
                <a:gd name="T38" fmla="*/ 199 w 354"/>
                <a:gd name="T39" fmla="*/ 14 h 28"/>
                <a:gd name="T40" fmla="*/ 220 w 354"/>
                <a:gd name="T41" fmla="*/ 8 h 28"/>
                <a:gd name="T42" fmla="*/ 188 w 354"/>
                <a:gd name="T43" fmla="*/ 19 h 28"/>
                <a:gd name="T44" fmla="*/ 181 w 354"/>
                <a:gd name="T45" fmla="*/ 0 h 28"/>
                <a:gd name="T46" fmla="*/ 183 w 354"/>
                <a:gd name="T47" fmla="*/ 4 h 28"/>
                <a:gd name="T48" fmla="*/ 183 w 354"/>
                <a:gd name="T49" fmla="*/ 4 h 28"/>
                <a:gd name="T50" fmla="*/ 154 w 354"/>
                <a:gd name="T51" fmla="*/ 8 h 28"/>
                <a:gd name="T52" fmla="*/ 136 w 354"/>
                <a:gd name="T53" fmla="*/ 28 h 28"/>
                <a:gd name="T54" fmla="*/ 153 w 354"/>
                <a:gd name="T55" fmla="*/ 21 h 28"/>
                <a:gd name="T56" fmla="*/ 153 w 354"/>
                <a:gd name="T57" fmla="*/ 14 h 28"/>
                <a:gd name="T58" fmla="*/ 136 w 354"/>
                <a:gd name="T59" fmla="*/ 0 h 28"/>
                <a:gd name="T60" fmla="*/ 132 w 354"/>
                <a:gd name="T61" fmla="*/ 28 h 28"/>
                <a:gd name="T62" fmla="*/ 131 w 354"/>
                <a:gd name="T63" fmla="*/ 15 h 28"/>
                <a:gd name="T64" fmla="*/ 132 w 354"/>
                <a:gd name="T65" fmla="*/ 3 h 28"/>
                <a:gd name="T66" fmla="*/ 113 w 354"/>
                <a:gd name="T67" fmla="*/ 28 h 28"/>
                <a:gd name="T68" fmla="*/ 96 w 354"/>
                <a:gd name="T69" fmla="*/ 14 h 28"/>
                <a:gd name="T70" fmla="*/ 110 w 354"/>
                <a:gd name="T71" fmla="*/ 0 h 28"/>
                <a:gd name="T72" fmla="*/ 88 w 354"/>
                <a:gd name="T73" fmla="*/ 0 h 28"/>
                <a:gd name="T74" fmla="*/ 72 w 354"/>
                <a:gd name="T75" fmla="*/ 0 h 28"/>
                <a:gd name="T76" fmla="*/ 80 w 354"/>
                <a:gd name="T77" fmla="*/ 17 h 28"/>
                <a:gd name="T78" fmla="*/ 80 w 354"/>
                <a:gd name="T79" fmla="*/ 8 h 28"/>
                <a:gd name="T80" fmla="*/ 37 w 354"/>
                <a:gd name="T81" fmla="*/ 28 h 28"/>
                <a:gd name="T82" fmla="*/ 59 w 354"/>
                <a:gd name="T83" fmla="*/ 28 h 28"/>
                <a:gd name="T84" fmla="*/ 33 w 354"/>
                <a:gd name="T85" fmla="*/ 28 h 28"/>
                <a:gd name="T86" fmla="*/ 41 w 354"/>
                <a:gd name="T87" fmla="*/ 16 h 28"/>
                <a:gd name="T88" fmla="*/ 31 w 354"/>
                <a:gd name="T89" fmla="*/ 0 h 28"/>
                <a:gd name="T90" fmla="*/ 15 w 354"/>
                <a:gd name="T91" fmla="*/ 0 h 28"/>
                <a:gd name="T92" fmla="*/ 0 w 354"/>
                <a:gd name="T93" fmla="*/ 0 h 28"/>
                <a:gd name="T94" fmla="*/ 17 w 354"/>
                <a:gd name="T95" fmla="*/ 5 h 28"/>
                <a:gd name="T96" fmla="*/ 35 w 354"/>
                <a:gd name="T9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4" h="28">
                  <a:moveTo>
                    <a:pt x="354" y="0"/>
                  </a:moveTo>
                  <a:cubicBezTo>
                    <a:pt x="350" y="0"/>
                    <a:pt x="350" y="0"/>
                    <a:pt x="350" y="0"/>
                  </a:cubicBezTo>
                  <a:cubicBezTo>
                    <a:pt x="342" y="13"/>
                    <a:pt x="342" y="13"/>
                    <a:pt x="342" y="13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40" y="16"/>
                    <a:pt x="340" y="16"/>
                    <a:pt x="340" y="16"/>
                  </a:cubicBezTo>
                  <a:cubicBezTo>
                    <a:pt x="340" y="28"/>
                    <a:pt x="340" y="28"/>
                    <a:pt x="340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43" y="16"/>
                    <a:pt x="343" y="16"/>
                    <a:pt x="343" y="16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54" y="0"/>
                    <a:pt x="354" y="0"/>
                    <a:pt x="354" y="0"/>
                  </a:cubicBezTo>
                  <a:close/>
                  <a:moveTo>
                    <a:pt x="299" y="28"/>
                  </a:moveTo>
                  <a:cubicBezTo>
                    <a:pt x="302" y="28"/>
                    <a:pt x="302" y="28"/>
                    <a:pt x="302" y="28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11" y="28"/>
                    <a:pt x="311" y="28"/>
                    <a:pt x="311" y="28"/>
                  </a:cubicBezTo>
                  <a:cubicBezTo>
                    <a:pt x="314" y="28"/>
                    <a:pt x="314" y="28"/>
                    <a:pt x="314" y="28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28"/>
                    <a:pt x="323" y="28"/>
                    <a:pt x="323" y="28"/>
                  </a:cubicBezTo>
                  <a:cubicBezTo>
                    <a:pt x="326" y="28"/>
                    <a:pt x="326" y="28"/>
                    <a:pt x="326" y="28"/>
                  </a:cubicBezTo>
                  <a:cubicBezTo>
                    <a:pt x="326" y="0"/>
                    <a:pt x="326" y="0"/>
                    <a:pt x="326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13" y="23"/>
                    <a:pt x="313" y="23"/>
                    <a:pt x="313" y="23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28"/>
                    <a:pt x="299" y="28"/>
                    <a:pt x="299" y="28"/>
                  </a:cubicBezTo>
                  <a:close/>
                  <a:moveTo>
                    <a:pt x="276" y="28"/>
                  </a:moveTo>
                  <a:cubicBezTo>
                    <a:pt x="295" y="28"/>
                    <a:pt x="295" y="28"/>
                    <a:pt x="295" y="28"/>
                  </a:cubicBezTo>
                  <a:cubicBezTo>
                    <a:pt x="295" y="25"/>
                    <a:pt x="295" y="25"/>
                    <a:pt x="295" y="25"/>
                  </a:cubicBezTo>
                  <a:cubicBezTo>
                    <a:pt x="280" y="25"/>
                    <a:pt x="280" y="25"/>
                    <a:pt x="280" y="25"/>
                  </a:cubicBezTo>
                  <a:cubicBezTo>
                    <a:pt x="280" y="15"/>
                    <a:pt x="280" y="15"/>
                    <a:pt x="280" y="15"/>
                  </a:cubicBezTo>
                  <a:cubicBezTo>
                    <a:pt x="294" y="15"/>
                    <a:pt x="294" y="15"/>
                    <a:pt x="294" y="15"/>
                  </a:cubicBezTo>
                  <a:cubicBezTo>
                    <a:pt x="294" y="12"/>
                    <a:pt x="294" y="12"/>
                    <a:pt x="294" y="12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3"/>
                    <a:pt x="280" y="3"/>
                    <a:pt x="280" y="3"/>
                  </a:cubicBezTo>
                  <a:cubicBezTo>
                    <a:pt x="295" y="3"/>
                    <a:pt x="295" y="3"/>
                    <a:pt x="295" y="3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276" y="28"/>
                    <a:pt x="276" y="28"/>
                    <a:pt x="276" y="28"/>
                  </a:cubicBezTo>
                  <a:cubicBezTo>
                    <a:pt x="276" y="28"/>
                    <a:pt x="276" y="28"/>
                    <a:pt x="276" y="28"/>
                  </a:cubicBezTo>
                  <a:close/>
                  <a:moveTo>
                    <a:pt x="249" y="28"/>
                  </a:moveTo>
                  <a:cubicBezTo>
                    <a:pt x="258" y="28"/>
                    <a:pt x="258" y="28"/>
                    <a:pt x="258" y="28"/>
                  </a:cubicBezTo>
                  <a:cubicBezTo>
                    <a:pt x="268" y="28"/>
                    <a:pt x="272" y="22"/>
                    <a:pt x="272" y="13"/>
                  </a:cubicBezTo>
                  <a:cubicBezTo>
                    <a:pt x="272" y="4"/>
                    <a:pt x="267" y="0"/>
                    <a:pt x="258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28"/>
                    <a:pt x="249" y="28"/>
                    <a:pt x="249" y="28"/>
                  </a:cubicBezTo>
                  <a:cubicBezTo>
                    <a:pt x="249" y="28"/>
                    <a:pt x="249" y="28"/>
                    <a:pt x="249" y="28"/>
                  </a:cubicBezTo>
                  <a:close/>
                  <a:moveTo>
                    <a:pt x="253" y="3"/>
                  </a:moveTo>
                  <a:cubicBezTo>
                    <a:pt x="259" y="3"/>
                    <a:pt x="259" y="3"/>
                    <a:pt x="259" y="3"/>
                  </a:cubicBezTo>
                  <a:cubicBezTo>
                    <a:pt x="265" y="3"/>
                    <a:pt x="268" y="7"/>
                    <a:pt x="268" y="14"/>
                  </a:cubicBezTo>
                  <a:cubicBezTo>
                    <a:pt x="268" y="24"/>
                    <a:pt x="261" y="25"/>
                    <a:pt x="259" y="25"/>
                  </a:cubicBezTo>
                  <a:cubicBezTo>
                    <a:pt x="253" y="25"/>
                    <a:pt x="253" y="25"/>
                    <a:pt x="253" y="25"/>
                  </a:cubicBezTo>
                  <a:cubicBezTo>
                    <a:pt x="253" y="3"/>
                    <a:pt x="253" y="3"/>
                    <a:pt x="253" y="3"/>
                  </a:cubicBezTo>
                  <a:cubicBezTo>
                    <a:pt x="253" y="3"/>
                    <a:pt x="253" y="3"/>
                    <a:pt x="253" y="3"/>
                  </a:cubicBezTo>
                  <a:close/>
                  <a:moveTo>
                    <a:pt x="221" y="28"/>
                  </a:moveTo>
                  <a:cubicBezTo>
                    <a:pt x="224" y="28"/>
                    <a:pt x="224" y="28"/>
                    <a:pt x="224" y="28"/>
                  </a:cubicBezTo>
                  <a:cubicBezTo>
                    <a:pt x="228" y="19"/>
                    <a:pt x="228" y="19"/>
                    <a:pt x="228" y="19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42" y="28"/>
                    <a:pt x="242" y="28"/>
                    <a:pt x="242" y="28"/>
                  </a:cubicBezTo>
                  <a:cubicBezTo>
                    <a:pt x="246" y="28"/>
                    <a:pt x="246" y="28"/>
                    <a:pt x="246" y="28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21" y="28"/>
                    <a:pt x="221" y="28"/>
                    <a:pt x="221" y="28"/>
                  </a:cubicBezTo>
                  <a:cubicBezTo>
                    <a:pt x="221" y="28"/>
                    <a:pt x="221" y="28"/>
                    <a:pt x="221" y="28"/>
                  </a:cubicBezTo>
                  <a:close/>
                  <a:moveTo>
                    <a:pt x="233" y="4"/>
                  </a:moveTo>
                  <a:cubicBezTo>
                    <a:pt x="233" y="4"/>
                    <a:pt x="233" y="4"/>
                    <a:pt x="233" y="4"/>
                  </a:cubicBezTo>
                  <a:cubicBezTo>
                    <a:pt x="238" y="16"/>
                    <a:pt x="238" y="16"/>
                    <a:pt x="238" y="16"/>
                  </a:cubicBezTo>
                  <a:cubicBezTo>
                    <a:pt x="229" y="16"/>
                    <a:pt x="229" y="16"/>
                    <a:pt x="229" y="16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33" y="4"/>
                    <a:pt x="233" y="4"/>
                    <a:pt x="233" y="4"/>
                  </a:cubicBezTo>
                  <a:close/>
                  <a:moveTo>
                    <a:pt x="220" y="8"/>
                  </a:moveTo>
                  <a:cubicBezTo>
                    <a:pt x="219" y="3"/>
                    <a:pt x="214" y="0"/>
                    <a:pt x="209" y="0"/>
                  </a:cubicBezTo>
                  <a:cubicBezTo>
                    <a:pt x="200" y="0"/>
                    <a:pt x="196" y="6"/>
                    <a:pt x="196" y="14"/>
                  </a:cubicBezTo>
                  <a:cubicBezTo>
                    <a:pt x="196" y="22"/>
                    <a:pt x="200" y="28"/>
                    <a:pt x="208" y="28"/>
                  </a:cubicBezTo>
                  <a:cubicBezTo>
                    <a:pt x="215" y="28"/>
                    <a:pt x="219" y="24"/>
                    <a:pt x="220" y="17"/>
                  </a:cubicBezTo>
                  <a:cubicBezTo>
                    <a:pt x="217" y="17"/>
                    <a:pt x="217" y="17"/>
                    <a:pt x="217" y="17"/>
                  </a:cubicBezTo>
                  <a:cubicBezTo>
                    <a:pt x="216" y="22"/>
                    <a:pt x="213" y="25"/>
                    <a:pt x="209" y="25"/>
                  </a:cubicBezTo>
                  <a:cubicBezTo>
                    <a:pt x="202" y="25"/>
                    <a:pt x="199" y="20"/>
                    <a:pt x="199" y="14"/>
                  </a:cubicBezTo>
                  <a:cubicBezTo>
                    <a:pt x="199" y="8"/>
                    <a:pt x="202" y="3"/>
                    <a:pt x="209" y="3"/>
                  </a:cubicBezTo>
                  <a:cubicBezTo>
                    <a:pt x="212" y="3"/>
                    <a:pt x="215" y="5"/>
                    <a:pt x="216" y="8"/>
                  </a:cubicBezTo>
                  <a:cubicBezTo>
                    <a:pt x="220" y="8"/>
                    <a:pt x="220" y="8"/>
                    <a:pt x="220" y="8"/>
                  </a:cubicBezTo>
                  <a:cubicBezTo>
                    <a:pt x="220" y="8"/>
                    <a:pt x="220" y="8"/>
                    <a:pt x="220" y="8"/>
                  </a:cubicBezTo>
                  <a:close/>
                  <a:moveTo>
                    <a:pt x="170" y="28"/>
                  </a:moveTo>
                  <a:cubicBezTo>
                    <a:pt x="174" y="28"/>
                    <a:pt x="174" y="28"/>
                    <a:pt x="174" y="28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5" y="28"/>
                    <a:pt x="195" y="28"/>
                    <a:pt x="195" y="28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lose/>
                  <a:moveTo>
                    <a:pt x="183" y="4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83" y="4"/>
                    <a:pt x="183" y="4"/>
                    <a:pt x="183" y="4"/>
                  </a:cubicBezTo>
                  <a:cubicBezTo>
                    <a:pt x="183" y="4"/>
                    <a:pt x="183" y="4"/>
                    <a:pt x="183" y="4"/>
                  </a:cubicBezTo>
                  <a:close/>
                  <a:moveTo>
                    <a:pt x="140" y="13"/>
                  </a:moveTo>
                  <a:cubicBezTo>
                    <a:pt x="140" y="3"/>
                    <a:pt x="140" y="3"/>
                    <a:pt x="140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52" y="3"/>
                    <a:pt x="154" y="5"/>
                    <a:pt x="154" y="8"/>
                  </a:cubicBezTo>
                  <a:cubicBezTo>
                    <a:pt x="154" y="12"/>
                    <a:pt x="151" y="13"/>
                    <a:pt x="147" y="13"/>
                  </a:cubicBezTo>
                  <a:cubicBezTo>
                    <a:pt x="140" y="13"/>
                    <a:pt x="140" y="13"/>
                    <a:pt x="140" y="13"/>
                  </a:cubicBezTo>
                  <a:cubicBezTo>
                    <a:pt x="140" y="13"/>
                    <a:pt x="140" y="13"/>
                    <a:pt x="140" y="13"/>
                  </a:cubicBezTo>
                  <a:close/>
                  <a:moveTo>
                    <a:pt x="136" y="2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52" y="16"/>
                    <a:pt x="153" y="18"/>
                    <a:pt x="153" y="21"/>
                  </a:cubicBezTo>
                  <a:cubicBezTo>
                    <a:pt x="154" y="24"/>
                    <a:pt x="153" y="27"/>
                    <a:pt x="154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7" y="26"/>
                    <a:pt x="157" y="23"/>
                    <a:pt x="157" y="20"/>
                  </a:cubicBezTo>
                  <a:cubicBezTo>
                    <a:pt x="156" y="17"/>
                    <a:pt x="156" y="15"/>
                    <a:pt x="153" y="1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6" y="13"/>
                    <a:pt x="157" y="11"/>
                    <a:pt x="157" y="7"/>
                  </a:cubicBezTo>
                  <a:cubicBezTo>
                    <a:pt x="157" y="3"/>
                    <a:pt x="154" y="0"/>
                    <a:pt x="14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lose/>
                  <a:moveTo>
                    <a:pt x="113" y="28"/>
                  </a:moveTo>
                  <a:cubicBezTo>
                    <a:pt x="132" y="28"/>
                    <a:pt x="132" y="28"/>
                    <a:pt x="132" y="28"/>
                  </a:cubicBezTo>
                  <a:cubicBezTo>
                    <a:pt x="132" y="25"/>
                    <a:pt x="132" y="25"/>
                    <a:pt x="132" y="25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3" y="28"/>
                    <a:pt x="113" y="28"/>
                    <a:pt x="113" y="28"/>
                  </a:cubicBezTo>
                  <a:close/>
                  <a:moveTo>
                    <a:pt x="88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close/>
                  <a:moveTo>
                    <a:pt x="83" y="8"/>
                  </a:moveTo>
                  <a:cubicBezTo>
                    <a:pt x="82" y="3"/>
                    <a:pt x="78" y="0"/>
                    <a:pt x="72" y="0"/>
                  </a:cubicBezTo>
                  <a:cubicBezTo>
                    <a:pt x="63" y="0"/>
                    <a:pt x="59" y="6"/>
                    <a:pt x="59" y="14"/>
                  </a:cubicBezTo>
                  <a:cubicBezTo>
                    <a:pt x="59" y="22"/>
                    <a:pt x="63" y="28"/>
                    <a:pt x="72" y="28"/>
                  </a:cubicBezTo>
                  <a:cubicBezTo>
                    <a:pt x="79" y="28"/>
                    <a:pt x="83" y="24"/>
                    <a:pt x="83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9" y="22"/>
                    <a:pt x="77" y="25"/>
                    <a:pt x="72" y="25"/>
                  </a:cubicBezTo>
                  <a:cubicBezTo>
                    <a:pt x="65" y="25"/>
                    <a:pt x="63" y="20"/>
                    <a:pt x="63" y="14"/>
                  </a:cubicBezTo>
                  <a:cubicBezTo>
                    <a:pt x="63" y="8"/>
                    <a:pt x="65" y="3"/>
                    <a:pt x="72" y="3"/>
                  </a:cubicBezTo>
                  <a:cubicBezTo>
                    <a:pt x="76" y="3"/>
                    <a:pt x="79" y="5"/>
                    <a:pt x="80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lose/>
                  <a:moveTo>
                    <a:pt x="33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  <a:moveTo>
                    <a:pt x="46" y="4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lose/>
                  <a:moveTo>
                    <a:pt x="35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507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786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108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86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28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780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1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64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911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4672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8881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31224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3725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246308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4958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14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0186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17479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655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5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668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8863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0478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456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33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620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23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683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420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0549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52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haltsplatzhalt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0681494" cy="754808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TOMORROW`S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2146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5093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1105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06258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958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585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1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 descr="PPT_Titel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20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6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3133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862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0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161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81494" cy="7548086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211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313131"/>
                </a:solidFill>
              </a:rPr>
              <a:t>CREATING TOMORROW`S SOLUTIONS</a:t>
            </a:r>
            <a:endParaRPr lang="en-US" sz="1400" dirty="0">
              <a:solidFill>
                <a:srgbClr val="313131"/>
              </a:solidFill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939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slideLayout" Target="../slideLayouts/slideLayout121.xml"/><Relationship Id="rId39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16.xml"/><Relationship Id="rId34" Type="http://schemas.openxmlformats.org/officeDocument/2006/relationships/slideLayout" Target="../slideLayouts/slideLayout129.xml"/><Relationship Id="rId42" Type="http://schemas.openxmlformats.org/officeDocument/2006/relationships/slideLayout" Target="../slideLayouts/slideLayout137.xml"/><Relationship Id="rId47" Type="http://schemas.openxmlformats.org/officeDocument/2006/relationships/slideLayout" Target="../slideLayouts/slideLayout142.xml"/><Relationship Id="rId50" Type="http://schemas.openxmlformats.org/officeDocument/2006/relationships/slideLayout" Target="../slideLayouts/slideLayout145.xml"/><Relationship Id="rId55" Type="http://schemas.openxmlformats.org/officeDocument/2006/relationships/slideLayout" Target="../slideLayouts/slideLayout150.xml"/><Relationship Id="rId63" Type="http://schemas.openxmlformats.org/officeDocument/2006/relationships/slideLayout" Target="../slideLayouts/slideLayout158.xml"/><Relationship Id="rId68" Type="http://schemas.openxmlformats.org/officeDocument/2006/relationships/image" Target="../media/image1.jpeg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32" Type="http://schemas.openxmlformats.org/officeDocument/2006/relationships/slideLayout" Target="../slideLayouts/slideLayout127.xml"/><Relationship Id="rId37" Type="http://schemas.openxmlformats.org/officeDocument/2006/relationships/slideLayout" Target="../slideLayouts/slideLayout132.xml"/><Relationship Id="rId40" Type="http://schemas.openxmlformats.org/officeDocument/2006/relationships/slideLayout" Target="../slideLayouts/slideLayout135.xml"/><Relationship Id="rId45" Type="http://schemas.openxmlformats.org/officeDocument/2006/relationships/slideLayout" Target="../slideLayouts/slideLayout140.xml"/><Relationship Id="rId53" Type="http://schemas.openxmlformats.org/officeDocument/2006/relationships/slideLayout" Target="../slideLayouts/slideLayout148.xml"/><Relationship Id="rId58" Type="http://schemas.openxmlformats.org/officeDocument/2006/relationships/slideLayout" Target="../slideLayouts/slideLayout153.xml"/><Relationship Id="rId66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slideLayout" Target="../slideLayouts/slideLayout123.xml"/><Relationship Id="rId36" Type="http://schemas.openxmlformats.org/officeDocument/2006/relationships/slideLayout" Target="../slideLayouts/slideLayout131.xml"/><Relationship Id="rId49" Type="http://schemas.openxmlformats.org/officeDocument/2006/relationships/slideLayout" Target="../slideLayouts/slideLayout144.xml"/><Relationship Id="rId57" Type="http://schemas.openxmlformats.org/officeDocument/2006/relationships/slideLayout" Target="../slideLayouts/slideLayout152.xml"/><Relationship Id="rId61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31" Type="http://schemas.openxmlformats.org/officeDocument/2006/relationships/slideLayout" Target="../slideLayouts/slideLayout126.xml"/><Relationship Id="rId44" Type="http://schemas.openxmlformats.org/officeDocument/2006/relationships/slideLayout" Target="../slideLayouts/slideLayout139.xml"/><Relationship Id="rId52" Type="http://schemas.openxmlformats.org/officeDocument/2006/relationships/slideLayout" Target="../slideLayouts/slideLayout147.xml"/><Relationship Id="rId60" Type="http://schemas.openxmlformats.org/officeDocument/2006/relationships/slideLayout" Target="../slideLayouts/slideLayout155.xml"/><Relationship Id="rId65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122.xml"/><Relationship Id="rId30" Type="http://schemas.openxmlformats.org/officeDocument/2006/relationships/slideLayout" Target="../slideLayouts/slideLayout125.xml"/><Relationship Id="rId35" Type="http://schemas.openxmlformats.org/officeDocument/2006/relationships/slideLayout" Target="../slideLayouts/slideLayout130.xml"/><Relationship Id="rId43" Type="http://schemas.openxmlformats.org/officeDocument/2006/relationships/slideLayout" Target="../slideLayouts/slideLayout138.xml"/><Relationship Id="rId48" Type="http://schemas.openxmlformats.org/officeDocument/2006/relationships/slideLayout" Target="../slideLayouts/slideLayout143.xml"/><Relationship Id="rId56" Type="http://schemas.openxmlformats.org/officeDocument/2006/relationships/slideLayout" Target="../slideLayouts/slideLayout151.xml"/><Relationship Id="rId64" Type="http://schemas.openxmlformats.org/officeDocument/2006/relationships/slideLayout" Target="../slideLayouts/slideLayout159.xml"/><Relationship Id="rId8" Type="http://schemas.openxmlformats.org/officeDocument/2006/relationships/slideLayout" Target="../slideLayouts/slideLayout103.xml"/><Relationship Id="rId51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20.xml"/><Relationship Id="rId33" Type="http://schemas.openxmlformats.org/officeDocument/2006/relationships/slideLayout" Target="../slideLayouts/slideLayout128.xml"/><Relationship Id="rId38" Type="http://schemas.openxmlformats.org/officeDocument/2006/relationships/slideLayout" Target="../slideLayouts/slideLayout133.xml"/><Relationship Id="rId46" Type="http://schemas.openxmlformats.org/officeDocument/2006/relationships/slideLayout" Target="../slideLayouts/slideLayout141.xml"/><Relationship Id="rId59" Type="http://schemas.openxmlformats.org/officeDocument/2006/relationships/slideLayout" Target="../slideLayouts/slideLayout154.xml"/><Relationship Id="rId67" Type="http://schemas.openxmlformats.org/officeDocument/2006/relationships/theme" Target="../theme/theme3.xml"/><Relationship Id="rId20" Type="http://schemas.openxmlformats.org/officeDocument/2006/relationships/slideLayout" Target="../slideLayouts/slideLayout115.xml"/><Relationship Id="rId41" Type="http://schemas.openxmlformats.org/officeDocument/2006/relationships/slideLayout" Target="../slideLayouts/slideLayout136.xml"/><Relationship Id="rId54" Type="http://schemas.openxmlformats.org/officeDocument/2006/relationships/slideLayout" Target="../slideLayouts/slideLayout149.xml"/><Relationship Id="rId62" Type="http://schemas.openxmlformats.org/officeDocument/2006/relationships/slideLayout" Target="../slideLayouts/slideLayout15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4.xml"/><Relationship Id="rId18" Type="http://schemas.openxmlformats.org/officeDocument/2006/relationships/slideLayout" Target="../slideLayouts/slideLayout179.xml"/><Relationship Id="rId26" Type="http://schemas.openxmlformats.org/officeDocument/2006/relationships/slideLayout" Target="../slideLayouts/slideLayout187.xml"/><Relationship Id="rId39" Type="http://schemas.openxmlformats.org/officeDocument/2006/relationships/slideLayout" Target="../slideLayouts/slideLayout200.xml"/><Relationship Id="rId21" Type="http://schemas.openxmlformats.org/officeDocument/2006/relationships/slideLayout" Target="../slideLayouts/slideLayout182.xml"/><Relationship Id="rId34" Type="http://schemas.openxmlformats.org/officeDocument/2006/relationships/slideLayout" Target="../slideLayouts/slideLayout195.xml"/><Relationship Id="rId42" Type="http://schemas.openxmlformats.org/officeDocument/2006/relationships/slideLayout" Target="../slideLayouts/slideLayout203.xml"/><Relationship Id="rId47" Type="http://schemas.openxmlformats.org/officeDocument/2006/relationships/slideLayout" Target="../slideLayouts/slideLayout208.xml"/><Relationship Id="rId50" Type="http://schemas.openxmlformats.org/officeDocument/2006/relationships/slideLayout" Target="../slideLayouts/slideLayout211.xml"/><Relationship Id="rId55" Type="http://schemas.openxmlformats.org/officeDocument/2006/relationships/slideLayout" Target="../slideLayouts/slideLayout216.xml"/><Relationship Id="rId63" Type="http://schemas.openxmlformats.org/officeDocument/2006/relationships/slideLayout" Target="../slideLayouts/slideLayout224.xml"/><Relationship Id="rId68" Type="http://schemas.openxmlformats.org/officeDocument/2006/relationships/theme" Target="../theme/theme4.xml"/><Relationship Id="rId7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63.xml"/><Relationship Id="rId16" Type="http://schemas.openxmlformats.org/officeDocument/2006/relationships/slideLayout" Target="../slideLayouts/slideLayout177.xml"/><Relationship Id="rId29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24" Type="http://schemas.openxmlformats.org/officeDocument/2006/relationships/slideLayout" Target="../slideLayouts/slideLayout185.xml"/><Relationship Id="rId32" Type="http://schemas.openxmlformats.org/officeDocument/2006/relationships/slideLayout" Target="../slideLayouts/slideLayout193.xml"/><Relationship Id="rId37" Type="http://schemas.openxmlformats.org/officeDocument/2006/relationships/slideLayout" Target="../slideLayouts/slideLayout198.xml"/><Relationship Id="rId40" Type="http://schemas.openxmlformats.org/officeDocument/2006/relationships/slideLayout" Target="../slideLayouts/slideLayout201.xml"/><Relationship Id="rId45" Type="http://schemas.openxmlformats.org/officeDocument/2006/relationships/slideLayout" Target="../slideLayouts/slideLayout206.xml"/><Relationship Id="rId53" Type="http://schemas.openxmlformats.org/officeDocument/2006/relationships/slideLayout" Target="../slideLayouts/slideLayout214.xml"/><Relationship Id="rId58" Type="http://schemas.openxmlformats.org/officeDocument/2006/relationships/slideLayout" Target="../slideLayouts/slideLayout219.xml"/><Relationship Id="rId66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23" Type="http://schemas.openxmlformats.org/officeDocument/2006/relationships/slideLayout" Target="../slideLayouts/slideLayout184.xml"/><Relationship Id="rId28" Type="http://schemas.openxmlformats.org/officeDocument/2006/relationships/slideLayout" Target="../slideLayouts/slideLayout189.xml"/><Relationship Id="rId36" Type="http://schemas.openxmlformats.org/officeDocument/2006/relationships/slideLayout" Target="../slideLayouts/slideLayout197.xml"/><Relationship Id="rId49" Type="http://schemas.openxmlformats.org/officeDocument/2006/relationships/slideLayout" Target="../slideLayouts/slideLayout210.xml"/><Relationship Id="rId57" Type="http://schemas.openxmlformats.org/officeDocument/2006/relationships/slideLayout" Target="../slideLayouts/slideLayout218.xml"/><Relationship Id="rId61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171.xml"/><Relationship Id="rId19" Type="http://schemas.openxmlformats.org/officeDocument/2006/relationships/slideLayout" Target="../slideLayouts/slideLayout180.xml"/><Relationship Id="rId31" Type="http://schemas.openxmlformats.org/officeDocument/2006/relationships/slideLayout" Target="../slideLayouts/slideLayout192.xml"/><Relationship Id="rId44" Type="http://schemas.openxmlformats.org/officeDocument/2006/relationships/slideLayout" Target="../slideLayouts/slideLayout205.xml"/><Relationship Id="rId52" Type="http://schemas.openxmlformats.org/officeDocument/2006/relationships/slideLayout" Target="../slideLayouts/slideLayout213.xml"/><Relationship Id="rId60" Type="http://schemas.openxmlformats.org/officeDocument/2006/relationships/slideLayout" Target="../slideLayouts/slideLayout221.xml"/><Relationship Id="rId65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Relationship Id="rId22" Type="http://schemas.openxmlformats.org/officeDocument/2006/relationships/slideLayout" Target="../slideLayouts/slideLayout183.xml"/><Relationship Id="rId27" Type="http://schemas.openxmlformats.org/officeDocument/2006/relationships/slideLayout" Target="../slideLayouts/slideLayout188.xml"/><Relationship Id="rId30" Type="http://schemas.openxmlformats.org/officeDocument/2006/relationships/slideLayout" Target="../slideLayouts/slideLayout191.xml"/><Relationship Id="rId35" Type="http://schemas.openxmlformats.org/officeDocument/2006/relationships/slideLayout" Target="../slideLayouts/slideLayout196.xml"/><Relationship Id="rId43" Type="http://schemas.openxmlformats.org/officeDocument/2006/relationships/slideLayout" Target="../slideLayouts/slideLayout204.xml"/><Relationship Id="rId48" Type="http://schemas.openxmlformats.org/officeDocument/2006/relationships/slideLayout" Target="../slideLayouts/slideLayout209.xml"/><Relationship Id="rId56" Type="http://schemas.openxmlformats.org/officeDocument/2006/relationships/slideLayout" Target="../slideLayouts/slideLayout217.xml"/><Relationship Id="rId64" Type="http://schemas.openxmlformats.org/officeDocument/2006/relationships/slideLayout" Target="../slideLayouts/slideLayout225.xml"/><Relationship Id="rId69" Type="http://schemas.openxmlformats.org/officeDocument/2006/relationships/image" Target="../media/image1.jpeg"/><Relationship Id="rId8" Type="http://schemas.openxmlformats.org/officeDocument/2006/relationships/slideLayout" Target="../slideLayouts/slideLayout169.xml"/><Relationship Id="rId51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73.xml"/><Relationship Id="rId17" Type="http://schemas.openxmlformats.org/officeDocument/2006/relationships/slideLayout" Target="../slideLayouts/slideLayout178.xml"/><Relationship Id="rId25" Type="http://schemas.openxmlformats.org/officeDocument/2006/relationships/slideLayout" Target="../slideLayouts/slideLayout186.xml"/><Relationship Id="rId33" Type="http://schemas.openxmlformats.org/officeDocument/2006/relationships/slideLayout" Target="../slideLayouts/slideLayout194.xml"/><Relationship Id="rId38" Type="http://schemas.openxmlformats.org/officeDocument/2006/relationships/slideLayout" Target="../slideLayouts/slideLayout199.xml"/><Relationship Id="rId46" Type="http://schemas.openxmlformats.org/officeDocument/2006/relationships/slideLayout" Target="../slideLayouts/slideLayout207.xml"/><Relationship Id="rId59" Type="http://schemas.openxmlformats.org/officeDocument/2006/relationships/slideLayout" Target="../slideLayouts/slideLayout220.xml"/><Relationship Id="rId67" Type="http://schemas.openxmlformats.org/officeDocument/2006/relationships/slideLayout" Target="../slideLayouts/slideLayout228.xml"/><Relationship Id="rId20" Type="http://schemas.openxmlformats.org/officeDocument/2006/relationships/slideLayout" Target="../slideLayouts/slideLayout181.xml"/><Relationship Id="rId41" Type="http://schemas.openxmlformats.org/officeDocument/2006/relationships/slideLayout" Target="../slideLayouts/slideLayout202.xml"/><Relationship Id="rId54" Type="http://schemas.openxmlformats.org/officeDocument/2006/relationships/slideLayout" Target="../slideLayouts/slideLayout215.xml"/><Relationship Id="rId62" Type="http://schemas.openxmlformats.org/officeDocument/2006/relationships/slideLayout" Target="../slideLayouts/slideLayout22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1.xml"/><Relationship Id="rId18" Type="http://schemas.openxmlformats.org/officeDocument/2006/relationships/slideLayout" Target="../slideLayouts/slideLayout246.xml"/><Relationship Id="rId26" Type="http://schemas.openxmlformats.org/officeDocument/2006/relationships/slideLayout" Target="../slideLayouts/slideLayout254.xml"/><Relationship Id="rId39" Type="http://schemas.openxmlformats.org/officeDocument/2006/relationships/slideLayout" Target="../slideLayouts/slideLayout267.xml"/><Relationship Id="rId21" Type="http://schemas.openxmlformats.org/officeDocument/2006/relationships/slideLayout" Target="../slideLayouts/slideLayout249.xml"/><Relationship Id="rId34" Type="http://schemas.openxmlformats.org/officeDocument/2006/relationships/slideLayout" Target="../slideLayouts/slideLayout262.xml"/><Relationship Id="rId42" Type="http://schemas.openxmlformats.org/officeDocument/2006/relationships/slideLayout" Target="../slideLayouts/slideLayout270.xml"/><Relationship Id="rId47" Type="http://schemas.openxmlformats.org/officeDocument/2006/relationships/slideLayout" Target="../slideLayouts/slideLayout275.xml"/><Relationship Id="rId50" Type="http://schemas.openxmlformats.org/officeDocument/2006/relationships/slideLayout" Target="../slideLayouts/slideLayout278.xml"/><Relationship Id="rId55" Type="http://schemas.openxmlformats.org/officeDocument/2006/relationships/slideLayout" Target="../slideLayouts/slideLayout283.xml"/><Relationship Id="rId63" Type="http://schemas.openxmlformats.org/officeDocument/2006/relationships/slideLayout" Target="../slideLayouts/slideLayout291.xml"/><Relationship Id="rId68" Type="http://schemas.openxmlformats.org/officeDocument/2006/relationships/theme" Target="../theme/theme5.xml"/><Relationship Id="rId7" Type="http://schemas.openxmlformats.org/officeDocument/2006/relationships/slideLayout" Target="../slideLayouts/slideLayout235.xml"/><Relationship Id="rId2" Type="http://schemas.openxmlformats.org/officeDocument/2006/relationships/slideLayout" Target="../slideLayouts/slideLayout230.xml"/><Relationship Id="rId16" Type="http://schemas.openxmlformats.org/officeDocument/2006/relationships/slideLayout" Target="../slideLayouts/slideLayout244.xml"/><Relationship Id="rId29" Type="http://schemas.openxmlformats.org/officeDocument/2006/relationships/slideLayout" Target="../slideLayouts/slideLayout257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24" Type="http://schemas.openxmlformats.org/officeDocument/2006/relationships/slideLayout" Target="../slideLayouts/slideLayout252.xml"/><Relationship Id="rId32" Type="http://schemas.openxmlformats.org/officeDocument/2006/relationships/slideLayout" Target="../slideLayouts/slideLayout260.xml"/><Relationship Id="rId37" Type="http://schemas.openxmlformats.org/officeDocument/2006/relationships/slideLayout" Target="../slideLayouts/slideLayout265.xml"/><Relationship Id="rId40" Type="http://schemas.openxmlformats.org/officeDocument/2006/relationships/slideLayout" Target="../slideLayouts/slideLayout268.xml"/><Relationship Id="rId45" Type="http://schemas.openxmlformats.org/officeDocument/2006/relationships/slideLayout" Target="../slideLayouts/slideLayout273.xml"/><Relationship Id="rId53" Type="http://schemas.openxmlformats.org/officeDocument/2006/relationships/slideLayout" Target="../slideLayouts/slideLayout281.xml"/><Relationship Id="rId58" Type="http://schemas.openxmlformats.org/officeDocument/2006/relationships/slideLayout" Target="../slideLayouts/slideLayout286.xml"/><Relationship Id="rId66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33.xml"/><Relationship Id="rId15" Type="http://schemas.openxmlformats.org/officeDocument/2006/relationships/slideLayout" Target="../slideLayouts/slideLayout243.xml"/><Relationship Id="rId23" Type="http://schemas.openxmlformats.org/officeDocument/2006/relationships/slideLayout" Target="../slideLayouts/slideLayout251.xml"/><Relationship Id="rId28" Type="http://schemas.openxmlformats.org/officeDocument/2006/relationships/slideLayout" Target="../slideLayouts/slideLayout256.xml"/><Relationship Id="rId36" Type="http://schemas.openxmlformats.org/officeDocument/2006/relationships/slideLayout" Target="../slideLayouts/slideLayout264.xml"/><Relationship Id="rId49" Type="http://schemas.openxmlformats.org/officeDocument/2006/relationships/slideLayout" Target="../slideLayouts/slideLayout277.xml"/><Relationship Id="rId57" Type="http://schemas.openxmlformats.org/officeDocument/2006/relationships/slideLayout" Target="../slideLayouts/slideLayout285.xml"/><Relationship Id="rId61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38.xml"/><Relationship Id="rId19" Type="http://schemas.openxmlformats.org/officeDocument/2006/relationships/slideLayout" Target="../slideLayouts/slideLayout247.xml"/><Relationship Id="rId31" Type="http://schemas.openxmlformats.org/officeDocument/2006/relationships/slideLayout" Target="../slideLayouts/slideLayout259.xml"/><Relationship Id="rId44" Type="http://schemas.openxmlformats.org/officeDocument/2006/relationships/slideLayout" Target="../slideLayouts/slideLayout272.xml"/><Relationship Id="rId52" Type="http://schemas.openxmlformats.org/officeDocument/2006/relationships/slideLayout" Target="../slideLayouts/slideLayout280.xml"/><Relationship Id="rId60" Type="http://schemas.openxmlformats.org/officeDocument/2006/relationships/slideLayout" Target="../slideLayouts/slideLayout288.xml"/><Relationship Id="rId65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Relationship Id="rId14" Type="http://schemas.openxmlformats.org/officeDocument/2006/relationships/slideLayout" Target="../slideLayouts/slideLayout242.xml"/><Relationship Id="rId22" Type="http://schemas.openxmlformats.org/officeDocument/2006/relationships/slideLayout" Target="../slideLayouts/slideLayout250.xml"/><Relationship Id="rId27" Type="http://schemas.openxmlformats.org/officeDocument/2006/relationships/slideLayout" Target="../slideLayouts/slideLayout255.xml"/><Relationship Id="rId30" Type="http://schemas.openxmlformats.org/officeDocument/2006/relationships/slideLayout" Target="../slideLayouts/slideLayout258.xml"/><Relationship Id="rId35" Type="http://schemas.openxmlformats.org/officeDocument/2006/relationships/slideLayout" Target="../slideLayouts/slideLayout263.xml"/><Relationship Id="rId43" Type="http://schemas.openxmlformats.org/officeDocument/2006/relationships/slideLayout" Target="../slideLayouts/slideLayout271.xml"/><Relationship Id="rId48" Type="http://schemas.openxmlformats.org/officeDocument/2006/relationships/slideLayout" Target="../slideLayouts/slideLayout276.xml"/><Relationship Id="rId56" Type="http://schemas.openxmlformats.org/officeDocument/2006/relationships/slideLayout" Target="../slideLayouts/slideLayout284.xml"/><Relationship Id="rId64" Type="http://schemas.openxmlformats.org/officeDocument/2006/relationships/slideLayout" Target="../slideLayouts/slideLayout292.xml"/><Relationship Id="rId69" Type="http://schemas.openxmlformats.org/officeDocument/2006/relationships/image" Target="../media/image1.jpeg"/><Relationship Id="rId8" Type="http://schemas.openxmlformats.org/officeDocument/2006/relationships/slideLayout" Target="../slideLayouts/slideLayout236.xml"/><Relationship Id="rId51" Type="http://schemas.openxmlformats.org/officeDocument/2006/relationships/slideLayout" Target="../slideLayouts/slideLayout279.xml"/><Relationship Id="rId3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40.xml"/><Relationship Id="rId17" Type="http://schemas.openxmlformats.org/officeDocument/2006/relationships/slideLayout" Target="../slideLayouts/slideLayout245.xml"/><Relationship Id="rId25" Type="http://schemas.openxmlformats.org/officeDocument/2006/relationships/slideLayout" Target="../slideLayouts/slideLayout253.xml"/><Relationship Id="rId33" Type="http://schemas.openxmlformats.org/officeDocument/2006/relationships/slideLayout" Target="../slideLayouts/slideLayout261.xml"/><Relationship Id="rId38" Type="http://schemas.openxmlformats.org/officeDocument/2006/relationships/slideLayout" Target="../slideLayouts/slideLayout266.xml"/><Relationship Id="rId46" Type="http://schemas.openxmlformats.org/officeDocument/2006/relationships/slideLayout" Target="../slideLayouts/slideLayout274.xml"/><Relationship Id="rId59" Type="http://schemas.openxmlformats.org/officeDocument/2006/relationships/slideLayout" Target="../slideLayouts/slideLayout287.xml"/><Relationship Id="rId67" Type="http://schemas.openxmlformats.org/officeDocument/2006/relationships/slideLayout" Target="../slideLayouts/slideLayout295.xml"/><Relationship Id="rId20" Type="http://schemas.openxmlformats.org/officeDocument/2006/relationships/slideLayout" Target="../slideLayouts/slideLayout248.xml"/><Relationship Id="rId41" Type="http://schemas.openxmlformats.org/officeDocument/2006/relationships/slideLayout" Target="../slideLayouts/slideLayout269.xml"/><Relationship Id="rId54" Type="http://schemas.openxmlformats.org/officeDocument/2006/relationships/slideLayout" Target="../slideLayouts/slideLayout282.xml"/><Relationship Id="rId62" Type="http://schemas.openxmlformats.org/officeDocument/2006/relationships/slideLayout" Target="../slideLayouts/slideLayout290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8.xml"/><Relationship Id="rId18" Type="http://schemas.openxmlformats.org/officeDocument/2006/relationships/slideLayout" Target="../slideLayouts/slideLayout313.xml"/><Relationship Id="rId26" Type="http://schemas.openxmlformats.org/officeDocument/2006/relationships/slideLayout" Target="../slideLayouts/slideLayout321.xml"/><Relationship Id="rId39" Type="http://schemas.openxmlformats.org/officeDocument/2006/relationships/slideLayout" Target="../slideLayouts/slideLayout334.xml"/><Relationship Id="rId21" Type="http://schemas.openxmlformats.org/officeDocument/2006/relationships/slideLayout" Target="../slideLayouts/slideLayout316.xml"/><Relationship Id="rId34" Type="http://schemas.openxmlformats.org/officeDocument/2006/relationships/slideLayout" Target="../slideLayouts/slideLayout329.xml"/><Relationship Id="rId42" Type="http://schemas.openxmlformats.org/officeDocument/2006/relationships/slideLayout" Target="../slideLayouts/slideLayout337.xml"/><Relationship Id="rId47" Type="http://schemas.openxmlformats.org/officeDocument/2006/relationships/slideLayout" Target="../slideLayouts/slideLayout342.xml"/><Relationship Id="rId50" Type="http://schemas.openxmlformats.org/officeDocument/2006/relationships/slideLayout" Target="../slideLayouts/slideLayout345.xml"/><Relationship Id="rId55" Type="http://schemas.openxmlformats.org/officeDocument/2006/relationships/slideLayout" Target="../slideLayouts/slideLayout350.xml"/><Relationship Id="rId63" Type="http://schemas.openxmlformats.org/officeDocument/2006/relationships/slideLayout" Target="../slideLayouts/slideLayout358.xml"/><Relationship Id="rId68" Type="http://schemas.openxmlformats.org/officeDocument/2006/relationships/theme" Target="../theme/theme6.xml"/><Relationship Id="rId7" Type="http://schemas.openxmlformats.org/officeDocument/2006/relationships/slideLayout" Target="../slideLayouts/slideLayout302.xml"/><Relationship Id="rId2" Type="http://schemas.openxmlformats.org/officeDocument/2006/relationships/slideLayout" Target="../slideLayouts/slideLayout297.xml"/><Relationship Id="rId16" Type="http://schemas.openxmlformats.org/officeDocument/2006/relationships/slideLayout" Target="../slideLayouts/slideLayout311.xml"/><Relationship Id="rId29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296.xml"/><Relationship Id="rId6" Type="http://schemas.openxmlformats.org/officeDocument/2006/relationships/slideLayout" Target="../slideLayouts/slideLayout301.xml"/><Relationship Id="rId11" Type="http://schemas.openxmlformats.org/officeDocument/2006/relationships/slideLayout" Target="../slideLayouts/slideLayout306.xml"/><Relationship Id="rId24" Type="http://schemas.openxmlformats.org/officeDocument/2006/relationships/slideLayout" Target="../slideLayouts/slideLayout319.xml"/><Relationship Id="rId32" Type="http://schemas.openxmlformats.org/officeDocument/2006/relationships/slideLayout" Target="../slideLayouts/slideLayout327.xml"/><Relationship Id="rId37" Type="http://schemas.openxmlformats.org/officeDocument/2006/relationships/slideLayout" Target="../slideLayouts/slideLayout332.xml"/><Relationship Id="rId40" Type="http://schemas.openxmlformats.org/officeDocument/2006/relationships/slideLayout" Target="../slideLayouts/slideLayout335.xml"/><Relationship Id="rId45" Type="http://schemas.openxmlformats.org/officeDocument/2006/relationships/slideLayout" Target="../slideLayouts/slideLayout340.xml"/><Relationship Id="rId53" Type="http://schemas.openxmlformats.org/officeDocument/2006/relationships/slideLayout" Target="../slideLayouts/slideLayout348.xml"/><Relationship Id="rId58" Type="http://schemas.openxmlformats.org/officeDocument/2006/relationships/slideLayout" Target="../slideLayouts/slideLayout353.xml"/><Relationship Id="rId66" Type="http://schemas.openxmlformats.org/officeDocument/2006/relationships/slideLayout" Target="../slideLayouts/slideLayout361.xml"/><Relationship Id="rId5" Type="http://schemas.openxmlformats.org/officeDocument/2006/relationships/slideLayout" Target="../slideLayouts/slideLayout300.xml"/><Relationship Id="rId15" Type="http://schemas.openxmlformats.org/officeDocument/2006/relationships/slideLayout" Target="../slideLayouts/slideLayout310.xml"/><Relationship Id="rId23" Type="http://schemas.openxmlformats.org/officeDocument/2006/relationships/slideLayout" Target="../slideLayouts/slideLayout318.xml"/><Relationship Id="rId28" Type="http://schemas.openxmlformats.org/officeDocument/2006/relationships/slideLayout" Target="../slideLayouts/slideLayout323.xml"/><Relationship Id="rId36" Type="http://schemas.openxmlformats.org/officeDocument/2006/relationships/slideLayout" Target="../slideLayouts/slideLayout331.xml"/><Relationship Id="rId49" Type="http://schemas.openxmlformats.org/officeDocument/2006/relationships/slideLayout" Target="../slideLayouts/slideLayout344.xml"/><Relationship Id="rId57" Type="http://schemas.openxmlformats.org/officeDocument/2006/relationships/slideLayout" Target="../slideLayouts/slideLayout352.xml"/><Relationship Id="rId61" Type="http://schemas.openxmlformats.org/officeDocument/2006/relationships/slideLayout" Target="../slideLayouts/slideLayout356.xml"/><Relationship Id="rId10" Type="http://schemas.openxmlformats.org/officeDocument/2006/relationships/slideLayout" Target="../slideLayouts/slideLayout305.xml"/><Relationship Id="rId19" Type="http://schemas.openxmlformats.org/officeDocument/2006/relationships/slideLayout" Target="../slideLayouts/slideLayout314.xml"/><Relationship Id="rId31" Type="http://schemas.openxmlformats.org/officeDocument/2006/relationships/slideLayout" Target="../slideLayouts/slideLayout326.xml"/><Relationship Id="rId44" Type="http://schemas.openxmlformats.org/officeDocument/2006/relationships/slideLayout" Target="../slideLayouts/slideLayout339.xml"/><Relationship Id="rId52" Type="http://schemas.openxmlformats.org/officeDocument/2006/relationships/slideLayout" Target="../slideLayouts/slideLayout347.xml"/><Relationship Id="rId60" Type="http://schemas.openxmlformats.org/officeDocument/2006/relationships/slideLayout" Target="../slideLayouts/slideLayout355.xml"/><Relationship Id="rId65" Type="http://schemas.openxmlformats.org/officeDocument/2006/relationships/slideLayout" Target="../slideLayouts/slideLayout360.xml"/><Relationship Id="rId4" Type="http://schemas.openxmlformats.org/officeDocument/2006/relationships/slideLayout" Target="../slideLayouts/slideLayout299.xml"/><Relationship Id="rId9" Type="http://schemas.openxmlformats.org/officeDocument/2006/relationships/slideLayout" Target="../slideLayouts/slideLayout304.xml"/><Relationship Id="rId14" Type="http://schemas.openxmlformats.org/officeDocument/2006/relationships/slideLayout" Target="../slideLayouts/slideLayout309.xml"/><Relationship Id="rId22" Type="http://schemas.openxmlformats.org/officeDocument/2006/relationships/slideLayout" Target="../slideLayouts/slideLayout317.xml"/><Relationship Id="rId27" Type="http://schemas.openxmlformats.org/officeDocument/2006/relationships/slideLayout" Target="../slideLayouts/slideLayout322.xml"/><Relationship Id="rId30" Type="http://schemas.openxmlformats.org/officeDocument/2006/relationships/slideLayout" Target="../slideLayouts/slideLayout325.xml"/><Relationship Id="rId35" Type="http://schemas.openxmlformats.org/officeDocument/2006/relationships/slideLayout" Target="../slideLayouts/slideLayout330.xml"/><Relationship Id="rId43" Type="http://schemas.openxmlformats.org/officeDocument/2006/relationships/slideLayout" Target="../slideLayouts/slideLayout338.xml"/><Relationship Id="rId48" Type="http://schemas.openxmlformats.org/officeDocument/2006/relationships/slideLayout" Target="../slideLayouts/slideLayout343.xml"/><Relationship Id="rId56" Type="http://schemas.openxmlformats.org/officeDocument/2006/relationships/slideLayout" Target="../slideLayouts/slideLayout351.xml"/><Relationship Id="rId64" Type="http://schemas.openxmlformats.org/officeDocument/2006/relationships/slideLayout" Target="../slideLayouts/slideLayout359.xml"/><Relationship Id="rId69" Type="http://schemas.openxmlformats.org/officeDocument/2006/relationships/image" Target="../media/image1.jpeg"/><Relationship Id="rId8" Type="http://schemas.openxmlformats.org/officeDocument/2006/relationships/slideLayout" Target="../slideLayouts/slideLayout303.xml"/><Relationship Id="rId51" Type="http://schemas.openxmlformats.org/officeDocument/2006/relationships/slideLayout" Target="../slideLayouts/slideLayout346.xml"/><Relationship Id="rId3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7.xml"/><Relationship Id="rId17" Type="http://schemas.openxmlformats.org/officeDocument/2006/relationships/slideLayout" Target="../slideLayouts/slideLayout312.xml"/><Relationship Id="rId25" Type="http://schemas.openxmlformats.org/officeDocument/2006/relationships/slideLayout" Target="../slideLayouts/slideLayout320.xml"/><Relationship Id="rId33" Type="http://schemas.openxmlformats.org/officeDocument/2006/relationships/slideLayout" Target="../slideLayouts/slideLayout328.xml"/><Relationship Id="rId38" Type="http://schemas.openxmlformats.org/officeDocument/2006/relationships/slideLayout" Target="../slideLayouts/slideLayout333.xml"/><Relationship Id="rId46" Type="http://schemas.openxmlformats.org/officeDocument/2006/relationships/slideLayout" Target="../slideLayouts/slideLayout341.xml"/><Relationship Id="rId59" Type="http://schemas.openxmlformats.org/officeDocument/2006/relationships/slideLayout" Target="../slideLayouts/slideLayout354.xml"/><Relationship Id="rId67" Type="http://schemas.openxmlformats.org/officeDocument/2006/relationships/slideLayout" Target="../slideLayouts/slideLayout362.xml"/><Relationship Id="rId20" Type="http://schemas.openxmlformats.org/officeDocument/2006/relationships/slideLayout" Target="../slideLayouts/slideLayout315.xml"/><Relationship Id="rId41" Type="http://schemas.openxmlformats.org/officeDocument/2006/relationships/slideLayout" Target="../slideLayouts/slideLayout336.xml"/><Relationship Id="rId54" Type="http://schemas.openxmlformats.org/officeDocument/2006/relationships/slideLayout" Target="../slideLayouts/slideLayout349.xml"/><Relationship Id="rId62" Type="http://schemas.openxmlformats.org/officeDocument/2006/relationships/slideLayout" Target="../slideLayouts/slideLayout357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5.xml"/><Relationship Id="rId18" Type="http://schemas.openxmlformats.org/officeDocument/2006/relationships/slideLayout" Target="../slideLayouts/slideLayout380.xml"/><Relationship Id="rId26" Type="http://schemas.openxmlformats.org/officeDocument/2006/relationships/slideLayout" Target="../slideLayouts/slideLayout388.xml"/><Relationship Id="rId39" Type="http://schemas.openxmlformats.org/officeDocument/2006/relationships/slideLayout" Target="../slideLayouts/slideLayout401.xml"/><Relationship Id="rId21" Type="http://schemas.openxmlformats.org/officeDocument/2006/relationships/slideLayout" Target="../slideLayouts/slideLayout383.xml"/><Relationship Id="rId34" Type="http://schemas.openxmlformats.org/officeDocument/2006/relationships/slideLayout" Target="../slideLayouts/slideLayout396.xml"/><Relationship Id="rId42" Type="http://schemas.openxmlformats.org/officeDocument/2006/relationships/slideLayout" Target="../slideLayouts/slideLayout404.xml"/><Relationship Id="rId47" Type="http://schemas.openxmlformats.org/officeDocument/2006/relationships/slideLayout" Target="../slideLayouts/slideLayout409.xml"/><Relationship Id="rId50" Type="http://schemas.openxmlformats.org/officeDocument/2006/relationships/slideLayout" Target="../slideLayouts/slideLayout412.xml"/><Relationship Id="rId55" Type="http://schemas.openxmlformats.org/officeDocument/2006/relationships/slideLayout" Target="../slideLayouts/slideLayout417.xml"/><Relationship Id="rId63" Type="http://schemas.openxmlformats.org/officeDocument/2006/relationships/slideLayout" Target="../slideLayouts/slideLayout425.xml"/><Relationship Id="rId68" Type="http://schemas.openxmlformats.org/officeDocument/2006/relationships/theme" Target="../theme/theme7.xml"/><Relationship Id="rId7" Type="http://schemas.openxmlformats.org/officeDocument/2006/relationships/slideLayout" Target="../slideLayouts/slideLayout369.xml"/><Relationship Id="rId2" Type="http://schemas.openxmlformats.org/officeDocument/2006/relationships/slideLayout" Target="../slideLayouts/slideLayout364.xml"/><Relationship Id="rId16" Type="http://schemas.openxmlformats.org/officeDocument/2006/relationships/slideLayout" Target="../slideLayouts/slideLayout378.xml"/><Relationship Id="rId29" Type="http://schemas.openxmlformats.org/officeDocument/2006/relationships/slideLayout" Target="../slideLayouts/slideLayout391.xml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24" Type="http://schemas.openxmlformats.org/officeDocument/2006/relationships/slideLayout" Target="../slideLayouts/slideLayout386.xml"/><Relationship Id="rId32" Type="http://schemas.openxmlformats.org/officeDocument/2006/relationships/slideLayout" Target="../slideLayouts/slideLayout394.xml"/><Relationship Id="rId37" Type="http://schemas.openxmlformats.org/officeDocument/2006/relationships/slideLayout" Target="../slideLayouts/slideLayout399.xml"/><Relationship Id="rId40" Type="http://schemas.openxmlformats.org/officeDocument/2006/relationships/slideLayout" Target="../slideLayouts/slideLayout402.xml"/><Relationship Id="rId45" Type="http://schemas.openxmlformats.org/officeDocument/2006/relationships/slideLayout" Target="../slideLayouts/slideLayout407.xml"/><Relationship Id="rId53" Type="http://schemas.openxmlformats.org/officeDocument/2006/relationships/slideLayout" Target="../slideLayouts/slideLayout415.xml"/><Relationship Id="rId58" Type="http://schemas.openxmlformats.org/officeDocument/2006/relationships/slideLayout" Target="../slideLayouts/slideLayout420.xml"/><Relationship Id="rId66" Type="http://schemas.openxmlformats.org/officeDocument/2006/relationships/slideLayout" Target="../slideLayouts/slideLayout428.xml"/><Relationship Id="rId5" Type="http://schemas.openxmlformats.org/officeDocument/2006/relationships/slideLayout" Target="../slideLayouts/slideLayout367.xml"/><Relationship Id="rId15" Type="http://schemas.openxmlformats.org/officeDocument/2006/relationships/slideLayout" Target="../slideLayouts/slideLayout377.xml"/><Relationship Id="rId23" Type="http://schemas.openxmlformats.org/officeDocument/2006/relationships/slideLayout" Target="../slideLayouts/slideLayout385.xml"/><Relationship Id="rId28" Type="http://schemas.openxmlformats.org/officeDocument/2006/relationships/slideLayout" Target="../slideLayouts/slideLayout390.xml"/><Relationship Id="rId36" Type="http://schemas.openxmlformats.org/officeDocument/2006/relationships/slideLayout" Target="../slideLayouts/slideLayout398.xml"/><Relationship Id="rId49" Type="http://schemas.openxmlformats.org/officeDocument/2006/relationships/slideLayout" Target="../slideLayouts/slideLayout411.xml"/><Relationship Id="rId57" Type="http://schemas.openxmlformats.org/officeDocument/2006/relationships/slideLayout" Target="../slideLayouts/slideLayout419.xml"/><Relationship Id="rId61" Type="http://schemas.openxmlformats.org/officeDocument/2006/relationships/slideLayout" Target="../slideLayouts/slideLayout423.xml"/><Relationship Id="rId10" Type="http://schemas.openxmlformats.org/officeDocument/2006/relationships/slideLayout" Target="../slideLayouts/slideLayout372.xml"/><Relationship Id="rId19" Type="http://schemas.openxmlformats.org/officeDocument/2006/relationships/slideLayout" Target="../slideLayouts/slideLayout381.xml"/><Relationship Id="rId31" Type="http://schemas.openxmlformats.org/officeDocument/2006/relationships/slideLayout" Target="../slideLayouts/slideLayout393.xml"/><Relationship Id="rId44" Type="http://schemas.openxmlformats.org/officeDocument/2006/relationships/slideLayout" Target="../slideLayouts/slideLayout406.xml"/><Relationship Id="rId52" Type="http://schemas.openxmlformats.org/officeDocument/2006/relationships/slideLayout" Target="../slideLayouts/slideLayout414.xml"/><Relationship Id="rId60" Type="http://schemas.openxmlformats.org/officeDocument/2006/relationships/slideLayout" Target="../slideLayouts/slideLayout422.xml"/><Relationship Id="rId65" Type="http://schemas.openxmlformats.org/officeDocument/2006/relationships/slideLayout" Target="../slideLayouts/slideLayout427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76.xml"/><Relationship Id="rId22" Type="http://schemas.openxmlformats.org/officeDocument/2006/relationships/slideLayout" Target="../slideLayouts/slideLayout384.xml"/><Relationship Id="rId27" Type="http://schemas.openxmlformats.org/officeDocument/2006/relationships/slideLayout" Target="../slideLayouts/slideLayout389.xml"/><Relationship Id="rId30" Type="http://schemas.openxmlformats.org/officeDocument/2006/relationships/slideLayout" Target="../slideLayouts/slideLayout392.xml"/><Relationship Id="rId35" Type="http://schemas.openxmlformats.org/officeDocument/2006/relationships/slideLayout" Target="../slideLayouts/slideLayout397.xml"/><Relationship Id="rId43" Type="http://schemas.openxmlformats.org/officeDocument/2006/relationships/slideLayout" Target="../slideLayouts/slideLayout405.xml"/><Relationship Id="rId48" Type="http://schemas.openxmlformats.org/officeDocument/2006/relationships/slideLayout" Target="../slideLayouts/slideLayout410.xml"/><Relationship Id="rId56" Type="http://schemas.openxmlformats.org/officeDocument/2006/relationships/slideLayout" Target="../slideLayouts/slideLayout418.xml"/><Relationship Id="rId64" Type="http://schemas.openxmlformats.org/officeDocument/2006/relationships/slideLayout" Target="../slideLayouts/slideLayout426.xml"/><Relationship Id="rId69" Type="http://schemas.openxmlformats.org/officeDocument/2006/relationships/image" Target="../media/image1.jpeg"/><Relationship Id="rId8" Type="http://schemas.openxmlformats.org/officeDocument/2006/relationships/slideLayout" Target="../slideLayouts/slideLayout370.xml"/><Relationship Id="rId51" Type="http://schemas.openxmlformats.org/officeDocument/2006/relationships/slideLayout" Target="../slideLayouts/slideLayout413.xml"/><Relationship Id="rId3" Type="http://schemas.openxmlformats.org/officeDocument/2006/relationships/slideLayout" Target="../slideLayouts/slideLayout365.xml"/><Relationship Id="rId12" Type="http://schemas.openxmlformats.org/officeDocument/2006/relationships/slideLayout" Target="../slideLayouts/slideLayout374.xml"/><Relationship Id="rId17" Type="http://schemas.openxmlformats.org/officeDocument/2006/relationships/slideLayout" Target="../slideLayouts/slideLayout379.xml"/><Relationship Id="rId25" Type="http://schemas.openxmlformats.org/officeDocument/2006/relationships/slideLayout" Target="../slideLayouts/slideLayout387.xml"/><Relationship Id="rId33" Type="http://schemas.openxmlformats.org/officeDocument/2006/relationships/slideLayout" Target="../slideLayouts/slideLayout395.xml"/><Relationship Id="rId38" Type="http://schemas.openxmlformats.org/officeDocument/2006/relationships/slideLayout" Target="../slideLayouts/slideLayout400.xml"/><Relationship Id="rId46" Type="http://schemas.openxmlformats.org/officeDocument/2006/relationships/slideLayout" Target="../slideLayouts/slideLayout408.xml"/><Relationship Id="rId59" Type="http://schemas.openxmlformats.org/officeDocument/2006/relationships/slideLayout" Target="../slideLayouts/slideLayout421.xml"/><Relationship Id="rId67" Type="http://schemas.openxmlformats.org/officeDocument/2006/relationships/slideLayout" Target="../slideLayouts/slideLayout429.xml"/><Relationship Id="rId20" Type="http://schemas.openxmlformats.org/officeDocument/2006/relationships/slideLayout" Target="../slideLayouts/slideLayout382.xml"/><Relationship Id="rId41" Type="http://schemas.openxmlformats.org/officeDocument/2006/relationships/slideLayout" Target="../slideLayouts/slideLayout403.xml"/><Relationship Id="rId54" Type="http://schemas.openxmlformats.org/officeDocument/2006/relationships/slideLayout" Target="../slideLayouts/slideLayout416.xml"/><Relationship Id="rId62" Type="http://schemas.openxmlformats.org/officeDocument/2006/relationships/slideLayout" Target="../slideLayouts/slideLayout424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2.xml"/><Relationship Id="rId18" Type="http://schemas.openxmlformats.org/officeDocument/2006/relationships/slideLayout" Target="../slideLayouts/slideLayout447.xml"/><Relationship Id="rId26" Type="http://schemas.openxmlformats.org/officeDocument/2006/relationships/slideLayout" Target="../slideLayouts/slideLayout455.xml"/><Relationship Id="rId39" Type="http://schemas.openxmlformats.org/officeDocument/2006/relationships/slideLayout" Target="../slideLayouts/slideLayout468.xml"/><Relationship Id="rId21" Type="http://schemas.openxmlformats.org/officeDocument/2006/relationships/slideLayout" Target="../slideLayouts/slideLayout450.xml"/><Relationship Id="rId34" Type="http://schemas.openxmlformats.org/officeDocument/2006/relationships/slideLayout" Target="../slideLayouts/slideLayout463.xml"/><Relationship Id="rId42" Type="http://schemas.openxmlformats.org/officeDocument/2006/relationships/slideLayout" Target="../slideLayouts/slideLayout471.xml"/><Relationship Id="rId47" Type="http://schemas.openxmlformats.org/officeDocument/2006/relationships/slideLayout" Target="../slideLayouts/slideLayout476.xml"/><Relationship Id="rId50" Type="http://schemas.openxmlformats.org/officeDocument/2006/relationships/slideLayout" Target="../slideLayouts/slideLayout479.xml"/><Relationship Id="rId55" Type="http://schemas.openxmlformats.org/officeDocument/2006/relationships/slideLayout" Target="../slideLayouts/slideLayout484.xml"/><Relationship Id="rId63" Type="http://schemas.openxmlformats.org/officeDocument/2006/relationships/slideLayout" Target="../slideLayouts/slideLayout492.xml"/><Relationship Id="rId68" Type="http://schemas.openxmlformats.org/officeDocument/2006/relationships/theme" Target="../theme/theme8.xml"/><Relationship Id="rId7" Type="http://schemas.openxmlformats.org/officeDocument/2006/relationships/slideLayout" Target="../slideLayouts/slideLayout436.xml"/><Relationship Id="rId2" Type="http://schemas.openxmlformats.org/officeDocument/2006/relationships/slideLayout" Target="../slideLayouts/slideLayout431.xml"/><Relationship Id="rId16" Type="http://schemas.openxmlformats.org/officeDocument/2006/relationships/slideLayout" Target="../slideLayouts/slideLayout445.xml"/><Relationship Id="rId29" Type="http://schemas.openxmlformats.org/officeDocument/2006/relationships/slideLayout" Target="../slideLayouts/slideLayout458.xml"/><Relationship Id="rId1" Type="http://schemas.openxmlformats.org/officeDocument/2006/relationships/slideLayout" Target="../slideLayouts/slideLayout430.xml"/><Relationship Id="rId6" Type="http://schemas.openxmlformats.org/officeDocument/2006/relationships/slideLayout" Target="../slideLayouts/slideLayout435.xml"/><Relationship Id="rId11" Type="http://schemas.openxmlformats.org/officeDocument/2006/relationships/slideLayout" Target="../slideLayouts/slideLayout440.xml"/><Relationship Id="rId24" Type="http://schemas.openxmlformats.org/officeDocument/2006/relationships/slideLayout" Target="../slideLayouts/slideLayout453.xml"/><Relationship Id="rId32" Type="http://schemas.openxmlformats.org/officeDocument/2006/relationships/slideLayout" Target="../slideLayouts/slideLayout461.xml"/><Relationship Id="rId37" Type="http://schemas.openxmlformats.org/officeDocument/2006/relationships/slideLayout" Target="../slideLayouts/slideLayout466.xml"/><Relationship Id="rId40" Type="http://schemas.openxmlformats.org/officeDocument/2006/relationships/slideLayout" Target="../slideLayouts/slideLayout469.xml"/><Relationship Id="rId45" Type="http://schemas.openxmlformats.org/officeDocument/2006/relationships/slideLayout" Target="../slideLayouts/slideLayout474.xml"/><Relationship Id="rId53" Type="http://schemas.openxmlformats.org/officeDocument/2006/relationships/slideLayout" Target="../slideLayouts/slideLayout482.xml"/><Relationship Id="rId58" Type="http://schemas.openxmlformats.org/officeDocument/2006/relationships/slideLayout" Target="../slideLayouts/slideLayout487.xml"/><Relationship Id="rId66" Type="http://schemas.openxmlformats.org/officeDocument/2006/relationships/slideLayout" Target="../slideLayouts/slideLayout495.xml"/><Relationship Id="rId5" Type="http://schemas.openxmlformats.org/officeDocument/2006/relationships/slideLayout" Target="../slideLayouts/slideLayout434.xml"/><Relationship Id="rId15" Type="http://schemas.openxmlformats.org/officeDocument/2006/relationships/slideLayout" Target="../slideLayouts/slideLayout444.xml"/><Relationship Id="rId23" Type="http://schemas.openxmlformats.org/officeDocument/2006/relationships/slideLayout" Target="../slideLayouts/slideLayout452.xml"/><Relationship Id="rId28" Type="http://schemas.openxmlformats.org/officeDocument/2006/relationships/slideLayout" Target="../slideLayouts/slideLayout457.xml"/><Relationship Id="rId36" Type="http://schemas.openxmlformats.org/officeDocument/2006/relationships/slideLayout" Target="../slideLayouts/slideLayout465.xml"/><Relationship Id="rId49" Type="http://schemas.openxmlformats.org/officeDocument/2006/relationships/slideLayout" Target="../slideLayouts/slideLayout478.xml"/><Relationship Id="rId57" Type="http://schemas.openxmlformats.org/officeDocument/2006/relationships/slideLayout" Target="../slideLayouts/slideLayout486.xml"/><Relationship Id="rId61" Type="http://schemas.openxmlformats.org/officeDocument/2006/relationships/slideLayout" Target="../slideLayouts/slideLayout490.xml"/><Relationship Id="rId10" Type="http://schemas.openxmlformats.org/officeDocument/2006/relationships/slideLayout" Target="../slideLayouts/slideLayout439.xml"/><Relationship Id="rId19" Type="http://schemas.openxmlformats.org/officeDocument/2006/relationships/slideLayout" Target="../slideLayouts/slideLayout448.xml"/><Relationship Id="rId31" Type="http://schemas.openxmlformats.org/officeDocument/2006/relationships/slideLayout" Target="../slideLayouts/slideLayout460.xml"/><Relationship Id="rId44" Type="http://schemas.openxmlformats.org/officeDocument/2006/relationships/slideLayout" Target="../slideLayouts/slideLayout473.xml"/><Relationship Id="rId52" Type="http://schemas.openxmlformats.org/officeDocument/2006/relationships/slideLayout" Target="../slideLayouts/slideLayout481.xml"/><Relationship Id="rId60" Type="http://schemas.openxmlformats.org/officeDocument/2006/relationships/slideLayout" Target="../slideLayouts/slideLayout489.xml"/><Relationship Id="rId65" Type="http://schemas.openxmlformats.org/officeDocument/2006/relationships/slideLayout" Target="../slideLayouts/slideLayout494.xml"/><Relationship Id="rId4" Type="http://schemas.openxmlformats.org/officeDocument/2006/relationships/slideLayout" Target="../slideLayouts/slideLayout433.xml"/><Relationship Id="rId9" Type="http://schemas.openxmlformats.org/officeDocument/2006/relationships/slideLayout" Target="../slideLayouts/slideLayout438.xml"/><Relationship Id="rId14" Type="http://schemas.openxmlformats.org/officeDocument/2006/relationships/slideLayout" Target="../slideLayouts/slideLayout443.xml"/><Relationship Id="rId22" Type="http://schemas.openxmlformats.org/officeDocument/2006/relationships/slideLayout" Target="../slideLayouts/slideLayout451.xml"/><Relationship Id="rId27" Type="http://schemas.openxmlformats.org/officeDocument/2006/relationships/slideLayout" Target="../slideLayouts/slideLayout456.xml"/><Relationship Id="rId30" Type="http://schemas.openxmlformats.org/officeDocument/2006/relationships/slideLayout" Target="../slideLayouts/slideLayout459.xml"/><Relationship Id="rId35" Type="http://schemas.openxmlformats.org/officeDocument/2006/relationships/slideLayout" Target="../slideLayouts/slideLayout464.xml"/><Relationship Id="rId43" Type="http://schemas.openxmlformats.org/officeDocument/2006/relationships/slideLayout" Target="../slideLayouts/slideLayout472.xml"/><Relationship Id="rId48" Type="http://schemas.openxmlformats.org/officeDocument/2006/relationships/slideLayout" Target="../slideLayouts/slideLayout477.xml"/><Relationship Id="rId56" Type="http://schemas.openxmlformats.org/officeDocument/2006/relationships/slideLayout" Target="../slideLayouts/slideLayout485.xml"/><Relationship Id="rId64" Type="http://schemas.openxmlformats.org/officeDocument/2006/relationships/slideLayout" Target="../slideLayouts/slideLayout493.xml"/><Relationship Id="rId69" Type="http://schemas.openxmlformats.org/officeDocument/2006/relationships/image" Target="../media/image1.jpeg"/><Relationship Id="rId8" Type="http://schemas.openxmlformats.org/officeDocument/2006/relationships/slideLayout" Target="../slideLayouts/slideLayout437.xml"/><Relationship Id="rId51" Type="http://schemas.openxmlformats.org/officeDocument/2006/relationships/slideLayout" Target="../slideLayouts/slideLayout480.xml"/><Relationship Id="rId3" Type="http://schemas.openxmlformats.org/officeDocument/2006/relationships/slideLayout" Target="../slideLayouts/slideLayout432.xml"/><Relationship Id="rId12" Type="http://schemas.openxmlformats.org/officeDocument/2006/relationships/slideLayout" Target="../slideLayouts/slideLayout441.xml"/><Relationship Id="rId17" Type="http://schemas.openxmlformats.org/officeDocument/2006/relationships/slideLayout" Target="../slideLayouts/slideLayout446.xml"/><Relationship Id="rId25" Type="http://schemas.openxmlformats.org/officeDocument/2006/relationships/slideLayout" Target="../slideLayouts/slideLayout454.xml"/><Relationship Id="rId33" Type="http://schemas.openxmlformats.org/officeDocument/2006/relationships/slideLayout" Target="../slideLayouts/slideLayout462.xml"/><Relationship Id="rId38" Type="http://schemas.openxmlformats.org/officeDocument/2006/relationships/slideLayout" Target="../slideLayouts/slideLayout467.xml"/><Relationship Id="rId46" Type="http://schemas.openxmlformats.org/officeDocument/2006/relationships/slideLayout" Target="../slideLayouts/slideLayout475.xml"/><Relationship Id="rId59" Type="http://schemas.openxmlformats.org/officeDocument/2006/relationships/slideLayout" Target="../slideLayouts/slideLayout488.xml"/><Relationship Id="rId67" Type="http://schemas.openxmlformats.org/officeDocument/2006/relationships/slideLayout" Target="../slideLayouts/slideLayout496.xml"/><Relationship Id="rId20" Type="http://schemas.openxmlformats.org/officeDocument/2006/relationships/slideLayout" Target="../slideLayouts/slideLayout449.xml"/><Relationship Id="rId41" Type="http://schemas.openxmlformats.org/officeDocument/2006/relationships/slideLayout" Target="../slideLayouts/slideLayout470.xml"/><Relationship Id="rId54" Type="http://schemas.openxmlformats.org/officeDocument/2006/relationships/slideLayout" Target="../slideLayouts/slideLayout483.xml"/><Relationship Id="rId62" Type="http://schemas.openxmlformats.org/officeDocument/2006/relationships/slideLayout" Target="../slideLayouts/slideLayout4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BELSIL® Specialties for Personal Care Applications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L. Zirko, Dr. G. Beer, 2016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42138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chemeClr val="tx1"/>
                </a:solidFill>
              </a:rPr>
              <a:pPr algn="r"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075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3" r:id="rId2"/>
    <p:sldLayoutId id="2147483874" r:id="rId3"/>
    <p:sldLayoutId id="2147483886" r:id="rId4"/>
    <p:sldLayoutId id="2147483885" r:id="rId5"/>
    <p:sldLayoutId id="2147483746" r:id="rId6"/>
    <p:sldLayoutId id="2147483914" r:id="rId7"/>
    <p:sldLayoutId id="2147483912" r:id="rId8"/>
    <p:sldLayoutId id="2147483747" r:id="rId9"/>
    <p:sldLayoutId id="2147483903" r:id="rId10"/>
    <p:sldLayoutId id="2147483931" r:id="rId11"/>
    <p:sldLayoutId id="2147483932" r:id="rId12"/>
    <p:sldLayoutId id="2147483933" r:id="rId13"/>
    <p:sldLayoutId id="2147483934" r:id="rId14"/>
    <p:sldLayoutId id="2147483915" r:id="rId15"/>
    <p:sldLayoutId id="2147483917" r:id="rId16"/>
    <p:sldLayoutId id="2147483919" r:id="rId17"/>
    <p:sldLayoutId id="2147483920" r:id="rId18"/>
    <p:sldLayoutId id="2147483921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900" r:id="rId28"/>
    <p:sldLayoutId id="2147483902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  <p:sldLayoutId id="2147483767" r:id="rId40"/>
    <p:sldLayoutId id="2147483768" r:id="rId41"/>
    <p:sldLayoutId id="2147483769" r:id="rId42"/>
    <p:sldLayoutId id="2147483770" r:id="rId43"/>
    <p:sldLayoutId id="2147483771" r:id="rId44"/>
    <p:sldLayoutId id="2147483772" r:id="rId45"/>
    <p:sldLayoutId id="2147483773" r:id="rId46"/>
    <p:sldLayoutId id="2147483774" r:id="rId47"/>
    <p:sldLayoutId id="2147483775" r:id="rId48"/>
    <p:sldLayoutId id="2147483776" r:id="rId49"/>
    <p:sldLayoutId id="2147483777" r:id="rId50"/>
    <p:sldLayoutId id="2147483778" r:id="rId51"/>
    <p:sldLayoutId id="2147483779" r:id="rId52"/>
    <p:sldLayoutId id="2147483780" r:id="rId53"/>
    <p:sldLayoutId id="2147483781" r:id="rId54"/>
    <p:sldLayoutId id="2147483782" r:id="rId55"/>
    <p:sldLayoutId id="2147483783" r:id="rId56"/>
    <p:sldLayoutId id="2147483784" r:id="rId57"/>
    <p:sldLayoutId id="2147483785" r:id="rId58"/>
    <p:sldLayoutId id="2147483906" r:id="rId59"/>
    <p:sldLayoutId id="2147483922" r:id="rId60"/>
    <p:sldLayoutId id="2147483928" r:id="rId61"/>
    <p:sldLayoutId id="2147483941" r:id="rId62"/>
    <p:sldLayoutId id="2147484351" r:id="rId63"/>
    <p:sldLayoutId id="2147484352" r:id="rId6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Title of the presentation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Date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51663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chemeClr val="tx1"/>
                </a:solidFill>
              </a:rPr>
              <a:pPr algn="r"/>
              <a:t>‹#›</a:t>
            </a:fld>
            <a:r>
              <a:rPr lang="en-US" sz="1100" b="1" dirty="0" smtClean="0">
                <a:solidFill>
                  <a:schemeClr val="tx1"/>
                </a:solidFill>
              </a:rPr>
              <a:t> of xx</a:t>
            </a:r>
            <a:endParaRPr lang="en-US" sz="1100" b="1" dirty="0">
              <a:solidFill>
                <a:schemeClr val="tx1"/>
              </a:solidFill>
            </a:endParaRPr>
          </a:p>
        </p:txBody>
      </p:sp>
      <p:grpSp>
        <p:nvGrpSpPr>
          <p:cNvPr id="26" name="Gruppieren 15"/>
          <p:cNvGrpSpPr/>
          <p:nvPr/>
        </p:nvGrpSpPr>
        <p:grpSpPr bwMode="gray">
          <a:xfrm>
            <a:off x="7779977" y="7146131"/>
            <a:ext cx="1377950" cy="204788"/>
            <a:chOff x="4659313" y="3679825"/>
            <a:chExt cx="1377950" cy="204788"/>
          </a:xfrm>
        </p:grpSpPr>
        <p:sp>
          <p:nvSpPr>
            <p:cNvPr id="27" name="Freeform 18"/>
            <p:cNvSpPr>
              <a:spLocks/>
            </p:cNvSpPr>
            <p:nvPr userDrawn="1"/>
          </p:nvSpPr>
          <p:spPr bwMode="gray">
            <a:xfrm>
              <a:off x="5170488" y="3679825"/>
              <a:ext cx="866775" cy="204788"/>
            </a:xfrm>
            <a:custGeom>
              <a:avLst/>
              <a:gdLst>
                <a:gd name="T0" fmla="*/ 231 w 231"/>
                <a:gd name="T1" fmla="*/ 48 h 55"/>
                <a:gd name="T2" fmla="*/ 231 w 231"/>
                <a:gd name="T3" fmla="*/ 7 h 55"/>
                <a:gd name="T4" fmla="*/ 224 w 231"/>
                <a:gd name="T5" fmla="*/ 0 h 55"/>
                <a:gd name="T6" fmla="*/ 0 w 231"/>
                <a:gd name="T7" fmla="*/ 0 h 55"/>
                <a:gd name="T8" fmla="*/ 0 w 231"/>
                <a:gd name="T9" fmla="*/ 4 h 55"/>
                <a:gd name="T10" fmla="*/ 224 w 231"/>
                <a:gd name="T11" fmla="*/ 4 h 55"/>
                <a:gd name="T12" fmla="*/ 228 w 231"/>
                <a:gd name="T13" fmla="*/ 7 h 55"/>
                <a:gd name="T14" fmla="*/ 228 w 231"/>
                <a:gd name="T15" fmla="*/ 48 h 55"/>
                <a:gd name="T16" fmla="*/ 224 w 231"/>
                <a:gd name="T17" fmla="*/ 51 h 55"/>
                <a:gd name="T18" fmla="*/ 0 w 231"/>
                <a:gd name="T19" fmla="*/ 51 h 55"/>
                <a:gd name="T20" fmla="*/ 0 w 231"/>
                <a:gd name="T21" fmla="*/ 55 h 55"/>
                <a:gd name="T22" fmla="*/ 224 w 231"/>
                <a:gd name="T23" fmla="*/ 55 h 55"/>
                <a:gd name="T24" fmla="*/ 231 w 231"/>
                <a:gd name="T25" fmla="*/ 48 h 55"/>
                <a:gd name="T26" fmla="*/ 231 w 231"/>
                <a:gd name="T27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1" h="55">
                  <a:moveTo>
                    <a:pt x="231" y="48"/>
                  </a:moveTo>
                  <a:cubicBezTo>
                    <a:pt x="231" y="7"/>
                    <a:pt x="231" y="7"/>
                    <a:pt x="231" y="7"/>
                  </a:cubicBezTo>
                  <a:cubicBezTo>
                    <a:pt x="231" y="3"/>
                    <a:pt x="228" y="0"/>
                    <a:pt x="2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24" y="4"/>
                    <a:pt x="224" y="4"/>
                    <a:pt x="224" y="4"/>
                  </a:cubicBezTo>
                  <a:cubicBezTo>
                    <a:pt x="226" y="4"/>
                    <a:pt x="228" y="5"/>
                    <a:pt x="228" y="7"/>
                  </a:cubicBezTo>
                  <a:cubicBezTo>
                    <a:pt x="228" y="48"/>
                    <a:pt x="228" y="48"/>
                    <a:pt x="228" y="48"/>
                  </a:cubicBezTo>
                  <a:cubicBezTo>
                    <a:pt x="228" y="50"/>
                    <a:pt x="226" y="51"/>
                    <a:pt x="224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24" y="55"/>
                    <a:pt x="224" y="55"/>
                    <a:pt x="224" y="55"/>
                  </a:cubicBezTo>
                  <a:cubicBezTo>
                    <a:pt x="228" y="55"/>
                    <a:pt x="231" y="52"/>
                    <a:pt x="231" y="48"/>
                  </a:cubicBezTo>
                  <a:cubicBezTo>
                    <a:pt x="231" y="48"/>
                    <a:pt x="231" y="48"/>
                    <a:pt x="231" y="48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9"/>
            <p:cNvSpPr>
              <a:spLocks noEditPoints="1"/>
            </p:cNvSpPr>
            <p:nvPr userDrawn="1"/>
          </p:nvSpPr>
          <p:spPr bwMode="gray">
            <a:xfrm>
              <a:off x="4659313" y="3732213"/>
              <a:ext cx="1328738" cy="104775"/>
            </a:xfrm>
            <a:custGeom>
              <a:avLst/>
              <a:gdLst>
                <a:gd name="T0" fmla="*/ 334 w 354"/>
                <a:gd name="T1" fmla="*/ 0 h 28"/>
                <a:gd name="T2" fmla="*/ 343 w 354"/>
                <a:gd name="T3" fmla="*/ 28 h 28"/>
                <a:gd name="T4" fmla="*/ 299 w 354"/>
                <a:gd name="T5" fmla="*/ 28 h 28"/>
                <a:gd name="T6" fmla="*/ 311 w 354"/>
                <a:gd name="T7" fmla="*/ 28 h 28"/>
                <a:gd name="T8" fmla="*/ 323 w 354"/>
                <a:gd name="T9" fmla="*/ 28 h 28"/>
                <a:gd name="T10" fmla="*/ 313 w 354"/>
                <a:gd name="T11" fmla="*/ 23 h 28"/>
                <a:gd name="T12" fmla="*/ 299 w 354"/>
                <a:gd name="T13" fmla="*/ 28 h 28"/>
                <a:gd name="T14" fmla="*/ 280 w 354"/>
                <a:gd name="T15" fmla="*/ 25 h 28"/>
                <a:gd name="T16" fmla="*/ 280 w 354"/>
                <a:gd name="T17" fmla="*/ 12 h 28"/>
                <a:gd name="T18" fmla="*/ 276 w 354"/>
                <a:gd name="T19" fmla="*/ 0 h 28"/>
                <a:gd name="T20" fmla="*/ 258 w 354"/>
                <a:gd name="T21" fmla="*/ 28 h 28"/>
                <a:gd name="T22" fmla="*/ 249 w 354"/>
                <a:gd name="T23" fmla="*/ 28 h 28"/>
                <a:gd name="T24" fmla="*/ 268 w 354"/>
                <a:gd name="T25" fmla="*/ 14 h 28"/>
                <a:gd name="T26" fmla="*/ 253 w 354"/>
                <a:gd name="T27" fmla="*/ 3 h 28"/>
                <a:gd name="T28" fmla="*/ 239 w 354"/>
                <a:gd name="T29" fmla="*/ 19 h 28"/>
                <a:gd name="T30" fmla="*/ 231 w 354"/>
                <a:gd name="T31" fmla="*/ 0 h 28"/>
                <a:gd name="T32" fmla="*/ 233 w 354"/>
                <a:gd name="T33" fmla="*/ 4 h 28"/>
                <a:gd name="T34" fmla="*/ 233 w 354"/>
                <a:gd name="T35" fmla="*/ 4 h 28"/>
                <a:gd name="T36" fmla="*/ 208 w 354"/>
                <a:gd name="T37" fmla="*/ 28 h 28"/>
                <a:gd name="T38" fmla="*/ 199 w 354"/>
                <a:gd name="T39" fmla="*/ 14 h 28"/>
                <a:gd name="T40" fmla="*/ 220 w 354"/>
                <a:gd name="T41" fmla="*/ 8 h 28"/>
                <a:gd name="T42" fmla="*/ 188 w 354"/>
                <a:gd name="T43" fmla="*/ 19 h 28"/>
                <a:gd name="T44" fmla="*/ 181 w 354"/>
                <a:gd name="T45" fmla="*/ 0 h 28"/>
                <a:gd name="T46" fmla="*/ 183 w 354"/>
                <a:gd name="T47" fmla="*/ 4 h 28"/>
                <a:gd name="T48" fmla="*/ 183 w 354"/>
                <a:gd name="T49" fmla="*/ 4 h 28"/>
                <a:gd name="T50" fmla="*/ 154 w 354"/>
                <a:gd name="T51" fmla="*/ 8 h 28"/>
                <a:gd name="T52" fmla="*/ 136 w 354"/>
                <a:gd name="T53" fmla="*/ 28 h 28"/>
                <a:gd name="T54" fmla="*/ 153 w 354"/>
                <a:gd name="T55" fmla="*/ 21 h 28"/>
                <a:gd name="T56" fmla="*/ 153 w 354"/>
                <a:gd name="T57" fmla="*/ 14 h 28"/>
                <a:gd name="T58" fmla="*/ 136 w 354"/>
                <a:gd name="T59" fmla="*/ 0 h 28"/>
                <a:gd name="T60" fmla="*/ 132 w 354"/>
                <a:gd name="T61" fmla="*/ 28 h 28"/>
                <a:gd name="T62" fmla="*/ 131 w 354"/>
                <a:gd name="T63" fmla="*/ 15 h 28"/>
                <a:gd name="T64" fmla="*/ 132 w 354"/>
                <a:gd name="T65" fmla="*/ 3 h 28"/>
                <a:gd name="T66" fmla="*/ 113 w 354"/>
                <a:gd name="T67" fmla="*/ 28 h 28"/>
                <a:gd name="T68" fmla="*/ 96 w 354"/>
                <a:gd name="T69" fmla="*/ 14 h 28"/>
                <a:gd name="T70" fmla="*/ 110 w 354"/>
                <a:gd name="T71" fmla="*/ 0 h 28"/>
                <a:gd name="T72" fmla="*/ 88 w 354"/>
                <a:gd name="T73" fmla="*/ 0 h 28"/>
                <a:gd name="T74" fmla="*/ 72 w 354"/>
                <a:gd name="T75" fmla="*/ 0 h 28"/>
                <a:gd name="T76" fmla="*/ 80 w 354"/>
                <a:gd name="T77" fmla="*/ 17 h 28"/>
                <a:gd name="T78" fmla="*/ 80 w 354"/>
                <a:gd name="T79" fmla="*/ 8 h 28"/>
                <a:gd name="T80" fmla="*/ 37 w 354"/>
                <a:gd name="T81" fmla="*/ 28 h 28"/>
                <a:gd name="T82" fmla="*/ 59 w 354"/>
                <a:gd name="T83" fmla="*/ 28 h 28"/>
                <a:gd name="T84" fmla="*/ 33 w 354"/>
                <a:gd name="T85" fmla="*/ 28 h 28"/>
                <a:gd name="T86" fmla="*/ 41 w 354"/>
                <a:gd name="T87" fmla="*/ 16 h 28"/>
                <a:gd name="T88" fmla="*/ 31 w 354"/>
                <a:gd name="T89" fmla="*/ 0 h 28"/>
                <a:gd name="T90" fmla="*/ 15 w 354"/>
                <a:gd name="T91" fmla="*/ 0 h 28"/>
                <a:gd name="T92" fmla="*/ 0 w 354"/>
                <a:gd name="T93" fmla="*/ 0 h 28"/>
                <a:gd name="T94" fmla="*/ 17 w 354"/>
                <a:gd name="T95" fmla="*/ 5 h 28"/>
                <a:gd name="T96" fmla="*/ 35 w 354"/>
                <a:gd name="T9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4" h="28">
                  <a:moveTo>
                    <a:pt x="354" y="0"/>
                  </a:moveTo>
                  <a:cubicBezTo>
                    <a:pt x="350" y="0"/>
                    <a:pt x="350" y="0"/>
                    <a:pt x="350" y="0"/>
                  </a:cubicBezTo>
                  <a:cubicBezTo>
                    <a:pt x="342" y="13"/>
                    <a:pt x="342" y="13"/>
                    <a:pt x="342" y="13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40" y="16"/>
                    <a:pt x="340" y="16"/>
                    <a:pt x="340" y="16"/>
                  </a:cubicBezTo>
                  <a:cubicBezTo>
                    <a:pt x="340" y="28"/>
                    <a:pt x="340" y="28"/>
                    <a:pt x="340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43" y="16"/>
                    <a:pt x="343" y="16"/>
                    <a:pt x="343" y="16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54" y="0"/>
                    <a:pt x="354" y="0"/>
                    <a:pt x="354" y="0"/>
                  </a:cubicBezTo>
                  <a:close/>
                  <a:moveTo>
                    <a:pt x="299" y="28"/>
                  </a:moveTo>
                  <a:cubicBezTo>
                    <a:pt x="302" y="28"/>
                    <a:pt x="302" y="28"/>
                    <a:pt x="302" y="28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11" y="28"/>
                    <a:pt x="311" y="28"/>
                    <a:pt x="311" y="28"/>
                  </a:cubicBezTo>
                  <a:cubicBezTo>
                    <a:pt x="314" y="28"/>
                    <a:pt x="314" y="28"/>
                    <a:pt x="314" y="28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28"/>
                    <a:pt x="323" y="28"/>
                    <a:pt x="323" y="28"/>
                  </a:cubicBezTo>
                  <a:cubicBezTo>
                    <a:pt x="326" y="28"/>
                    <a:pt x="326" y="28"/>
                    <a:pt x="326" y="28"/>
                  </a:cubicBezTo>
                  <a:cubicBezTo>
                    <a:pt x="326" y="0"/>
                    <a:pt x="326" y="0"/>
                    <a:pt x="326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13" y="23"/>
                    <a:pt x="313" y="23"/>
                    <a:pt x="313" y="23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28"/>
                    <a:pt x="299" y="28"/>
                    <a:pt x="299" y="28"/>
                  </a:cubicBezTo>
                  <a:close/>
                  <a:moveTo>
                    <a:pt x="276" y="28"/>
                  </a:moveTo>
                  <a:cubicBezTo>
                    <a:pt x="295" y="28"/>
                    <a:pt x="295" y="28"/>
                    <a:pt x="295" y="28"/>
                  </a:cubicBezTo>
                  <a:cubicBezTo>
                    <a:pt x="295" y="25"/>
                    <a:pt x="295" y="25"/>
                    <a:pt x="295" y="25"/>
                  </a:cubicBezTo>
                  <a:cubicBezTo>
                    <a:pt x="280" y="25"/>
                    <a:pt x="280" y="25"/>
                    <a:pt x="280" y="25"/>
                  </a:cubicBezTo>
                  <a:cubicBezTo>
                    <a:pt x="280" y="15"/>
                    <a:pt x="280" y="15"/>
                    <a:pt x="280" y="15"/>
                  </a:cubicBezTo>
                  <a:cubicBezTo>
                    <a:pt x="294" y="15"/>
                    <a:pt x="294" y="15"/>
                    <a:pt x="294" y="15"/>
                  </a:cubicBezTo>
                  <a:cubicBezTo>
                    <a:pt x="294" y="12"/>
                    <a:pt x="294" y="12"/>
                    <a:pt x="294" y="12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3"/>
                    <a:pt x="280" y="3"/>
                    <a:pt x="280" y="3"/>
                  </a:cubicBezTo>
                  <a:cubicBezTo>
                    <a:pt x="295" y="3"/>
                    <a:pt x="295" y="3"/>
                    <a:pt x="295" y="3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276" y="28"/>
                    <a:pt x="276" y="28"/>
                    <a:pt x="276" y="28"/>
                  </a:cubicBezTo>
                  <a:cubicBezTo>
                    <a:pt x="276" y="28"/>
                    <a:pt x="276" y="28"/>
                    <a:pt x="276" y="28"/>
                  </a:cubicBezTo>
                  <a:close/>
                  <a:moveTo>
                    <a:pt x="249" y="28"/>
                  </a:moveTo>
                  <a:cubicBezTo>
                    <a:pt x="258" y="28"/>
                    <a:pt x="258" y="28"/>
                    <a:pt x="258" y="28"/>
                  </a:cubicBezTo>
                  <a:cubicBezTo>
                    <a:pt x="268" y="28"/>
                    <a:pt x="272" y="22"/>
                    <a:pt x="272" y="13"/>
                  </a:cubicBezTo>
                  <a:cubicBezTo>
                    <a:pt x="272" y="4"/>
                    <a:pt x="267" y="0"/>
                    <a:pt x="258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28"/>
                    <a:pt x="249" y="28"/>
                    <a:pt x="249" y="28"/>
                  </a:cubicBezTo>
                  <a:cubicBezTo>
                    <a:pt x="249" y="28"/>
                    <a:pt x="249" y="28"/>
                    <a:pt x="249" y="28"/>
                  </a:cubicBezTo>
                  <a:close/>
                  <a:moveTo>
                    <a:pt x="253" y="3"/>
                  </a:moveTo>
                  <a:cubicBezTo>
                    <a:pt x="259" y="3"/>
                    <a:pt x="259" y="3"/>
                    <a:pt x="259" y="3"/>
                  </a:cubicBezTo>
                  <a:cubicBezTo>
                    <a:pt x="265" y="3"/>
                    <a:pt x="268" y="7"/>
                    <a:pt x="268" y="14"/>
                  </a:cubicBezTo>
                  <a:cubicBezTo>
                    <a:pt x="268" y="24"/>
                    <a:pt x="261" y="25"/>
                    <a:pt x="259" y="25"/>
                  </a:cubicBezTo>
                  <a:cubicBezTo>
                    <a:pt x="253" y="25"/>
                    <a:pt x="253" y="25"/>
                    <a:pt x="253" y="25"/>
                  </a:cubicBezTo>
                  <a:cubicBezTo>
                    <a:pt x="253" y="3"/>
                    <a:pt x="253" y="3"/>
                    <a:pt x="253" y="3"/>
                  </a:cubicBezTo>
                  <a:cubicBezTo>
                    <a:pt x="253" y="3"/>
                    <a:pt x="253" y="3"/>
                    <a:pt x="253" y="3"/>
                  </a:cubicBezTo>
                  <a:close/>
                  <a:moveTo>
                    <a:pt x="221" y="28"/>
                  </a:moveTo>
                  <a:cubicBezTo>
                    <a:pt x="224" y="28"/>
                    <a:pt x="224" y="28"/>
                    <a:pt x="224" y="28"/>
                  </a:cubicBezTo>
                  <a:cubicBezTo>
                    <a:pt x="228" y="19"/>
                    <a:pt x="228" y="19"/>
                    <a:pt x="228" y="19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42" y="28"/>
                    <a:pt x="242" y="28"/>
                    <a:pt x="242" y="28"/>
                  </a:cubicBezTo>
                  <a:cubicBezTo>
                    <a:pt x="246" y="28"/>
                    <a:pt x="246" y="28"/>
                    <a:pt x="246" y="28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21" y="28"/>
                    <a:pt x="221" y="28"/>
                    <a:pt x="221" y="28"/>
                  </a:cubicBezTo>
                  <a:cubicBezTo>
                    <a:pt x="221" y="28"/>
                    <a:pt x="221" y="28"/>
                    <a:pt x="221" y="28"/>
                  </a:cubicBezTo>
                  <a:close/>
                  <a:moveTo>
                    <a:pt x="233" y="4"/>
                  </a:moveTo>
                  <a:cubicBezTo>
                    <a:pt x="233" y="4"/>
                    <a:pt x="233" y="4"/>
                    <a:pt x="233" y="4"/>
                  </a:cubicBezTo>
                  <a:cubicBezTo>
                    <a:pt x="238" y="16"/>
                    <a:pt x="238" y="16"/>
                    <a:pt x="238" y="16"/>
                  </a:cubicBezTo>
                  <a:cubicBezTo>
                    <a:pt x="229" y="16"/>
                    <a:pt x="229" y="16"/>
                    <a:pt x="229" y="16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33" y="4"/>
                    <a:pt x="233" y="4"/>
                    <a:pt x="233" y="4"/>
                  </a:cubicBezTo>
                  <a:close/>
                  <a:moveTo>
                    <a:pt x="220" y="8"/>
                  </a:moveTo>
                  <a:cubicBezTo>
                    <a:pt x="219" y="3"/>
                    <a:pt x="214" y="0"/>
                    <a:pt x="209" y="0"/>
                  </a:cubicBezTo>
                  <a:cubicBezTo>
                    <a:pt x="200" y="0"/>
                    <a:pt x="196" y="6"/>
                    <a:pt x="196" y="14"/>
                  </a:cubicBezTo>
                  <a:cubicBezTo>
                    <a:pt x="196" y="22"/>
                    <a:pt x="200" y="28"/>
                    <a:pt x="208" y="28"/>
                  </a:cubicBezTo>
                  <a:cubicBezTo>
                    <a:pt x="215" y="28"/>
                    <a:pt x="219" y="24"/>
                    <a:pt x="220" y="17"/>
                  </a:cubicBezTo>
                  <a:cubicBezTo>
                    <a:pt x="217" y="17"/>
                    <a:pt x="217" y="17"/>
                    <a:pt x="217" y="17"/>
                  </a:cubicBezTo>
                  <a:cubicBezTo>
                    <a:pt x="216" y="22"/>
                    <a:pt x="213" y="25"/>
                    <a:pt x="209" y="25"/>
                  </a:cubicBezTo>
                  <a:cubicBezTo>
                    <a:pt x="202" y="25"/>
                    <a:pt x="199" y="20"/>
                    <a:pt x="199" y="14"/>
                  </a:cubicBezTo>
                  <a:cubicBezTo>
                    <a:pt x="199" y="8"/>
                    <a:pt x="202" y="3"/>
                    <a:pt x="209" y="3"/>
                  </a:cubicBezTo>
                  <a:cubicBezTo>
                    <a:pt x="212" y="3"/>
                    <a:pt x="215" y="5"/>
                    <a:pt x="216" y="8"/>
                  </a:cubicBezTo>
                  <a:cubicBezTo>
                    <a:pt x="220" y="8"/>
                    <a:pt x="220" y="8"/>
                    <a:pt x="220" y="8"/>
                  </a:cubicBezTo>
                  <a:cubicBezTo>
                    <a:pt x="220" y="8"/>
                    <a:pt x="220" y="8"/>
                    <a:pt x="220" y="8"/>
                  </a:cubicBezTo>
                  <a:close/>
                  <a:moveTo>
                    <a:pt x="170" y="28"/>
                  </a:moveTo>
                  <a:cubicBezTo>
                    <a:pt x="174" y="28"/>
                    <a:pt x="174" y="28"/>
                    <a:pt x="174" y="28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5" y="28"/>
                    <a:pt x="195" y="28"/>
                    <a:pt x="195" y="28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lose/>
                  <a:moveTo>
                    <a:pt x="183" y="4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83" y="4"/>
                    <a:pt x="183" y="4"/>
                    <a:pt x="183" y="4"/>
                  </a:cubicBezTo>
                  <a:cubicBezTo>
                    <a:pt x="183" y="4"/>
                    <a:pt x="183" y="4"/>
                    <a:pt x="183" y="4"/>
                  </a:cubicBezTo>
                  <a:close/>
                  <a:moveTo>
                    <a:pt x="140" y="13"/>
                  </a:moveTo>
                  <a:cubicBezTo>
                    <a:pt x="140" y="3"/>
                    <a:pt x="140" y="3"/>
                    <a:pt x="140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52" y="3"/>
                    <a:pt x="154" y="5"/>
                    <a:pt x="154" y="8"/>
                  </a:cubicBezTo>
                  <a:cubicBezTo>
                    <a:pt x="154" y="12"/>
                    <a:pt x="151" y="13"/>
                    <a:pt x="147" y="13"/>
                  </a:cubicBezTo>
                  <a:cubicBezTo>
                    <a:pt x="140" y="13"/>
                    <a:pt x="140" y="13"/>
                    <a:pt x="140" y="13"/>
                  </a:cubicBezTo>
                  <a:cubicBezTo>
                    <a:pt x="140" y="13"/>
                    <a:pt x="140" y="13"/>
                    <a:pt x="140" y="13"/>
                  </a:cubicBezTo>
                  <a:close/>
                  <a:moveTo>
                    <a:pt x="136" y="2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52" y="16"/>
                    <a:pt x="153" y="18"/>
                    <a:pt x="153" y="21"/>
                  </a:cubicBezTo>
                  <a:cubicBezTo>
                    <a:pt x="154" y="24"/>
                    <a:pt x="153" y="27"/>
                    <a:pt x="154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7" y="26"/>
                    <a:pt x="157" y="23"/>
                    <a:pt x="157" y="20"/>
                  </a:cubicBezTo>
                  <a:cubicBezTo>
                    <a:pt x="156" y="17"/>
                    <a:pt x="156" y="15"/>
                    <a:pt x="153" y="1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6" y="13"/>
                    <a:pt x="157" y="11"/>
                    <a:pt x="157" y="7"/>
                  </a:cubicBezTo>
                  <a:cubicBezTo>
                    <a:pt x="157" y="3"/>
                    <a:pt x="154" y="0"/>
                    <a:pt x="14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lose/>
                  <a:moveTo>
                    <a:pt x="113" y="28"/>
                  </a:moveTo>
                  <a:cubicBezTo>
                    <a:pt x="132" y="28"/>
                    <a:pt x="132" y="28"/>
                    <a:pt x="132" y="28"/>
                  </a:cubicBezTo>
                  <a:cubicBezTo>
                    <a:pt x="132" y="25"/>
                    <a:pt x="132" y="25"/>
                    <a:pt x="132" y="25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3" y="28"/>
                    <a:pt x="113" y="28"/>
                    <a:pt x="113" y="28"/>
                  </a:cubicBezTo>
                  <a:close/>
                  <a:moveTo>
                    <a:pt x="88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close/>
                  <a:moveTo>
                    <a:pt x="83" y="8"/>
                  </a:moveTo>
                  <a:cubicBezTo>
                    <a:pt x="82" y="3"/>
                    <a:pt x="78" y="0"/>
                    <a:pt x="72" y="0"/>
                  </a:cubicBezTo>
                  <a:cubicBezTo>
                    <a:pt x="63" y="0"/>
                    <a:pt x="59" y="6"/>
                    <a:pt x="59" y="14"/>
                  </a:cubicBezTo>
                  <a:cubicBezTo>
                    <a:pt x="59" y="22"/>
                    <a:pt x="63" y="28"/>
                    <a:pt x="72" y="28"/>
                  </a:cubicBezTo>
                  <a:cubicBezTo>
                    <a:pt x="79" y="28"/>
                    <a:pt x="83" y="24"/>
                    <a:pt x="83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9" y="22"/>
                    <a:pt x="77" y="25"/>
                    <a:pt x="72" y="25"/>
                  </a:cubicBezTo>
                  <a:cubicBezTo>
                    <a:pt x="65" y="25"/>
                    <a:pt x="63" y="20"/>
                    <a:pt x="63" y="14"/>
                  </a:cubicBezTo>
                  <a:cubicBezTo>
                    <a:pt x="63" y="8"/>
                    <a:pt x="65" y="3"/>
                    <a:pt x="72" y="3"/>
                  </a:cubicBezTo>
                  <a:cubicBezTo>
                    <a:pt x="76" y="3"/>
                    <a:pt x="79" y="5"/>
                    <a:pt x="80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lose/>
                  <a:moveTo>
                    <a:pt x="33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  <a:moveTo>
                    <a:pt x="46" y="4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lose/>
                  <a:moveTo>
                    <a:pt x="35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57500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8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BELSIL® Specialties for Personal Care Applications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L. Zirko, Dr. G. Beer, 2016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42138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rgbClr val="313131"/>
                </a:solidFill>
              </a:rPr>
              <a:pPr algn="r"/>
              <a:t>‹#›</a:t>
            </a:fld>
            <a:endParaRPr lang="en-US" sz="1100" b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34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  <p:sldLayoutId id="2147483962" r:id="rId19"/>
    <p:sldLayoutId id="2147483963" r:id="rId20"/>
    <p:sldLayoutId id="2147483964" r:id="rId21"/>
    <p:sldLayoutId id="2147483965" r:id="rId22"/>
    <p:sldLayoutId id="2147483966" r:id="rId23"/>
    <p:sldLayoutId id="2147483967" r:id="rId24"/>
    <p:sldLayoutId id="2147483968" r:id="rId25"/>
    <p:sldLayoutId id="2147483969" r:id="rId26"/>
    <p:sldLayoutId id="2147483970" r:id="rId27"/>
    <p:sldLayoutId id="2147483971" r:id="rId28"/>
    <p:sldLayoutId id="2147483972" r:id="rId29"/>
    <p:sldLayoutId id="2147483973" r:id="rId30"/>
    <p:sldLayoutId id="2147483974" r:id="rId31"/>
    <p:sldLayoutId id="2147483975" r:id="rId32"/>
    <p:sldLayoutId id="2147483976" r:id="rId33"/>
    <p:sldLayoutId id="2147483977" r:id="rId34"/>
    <p:sldLayoutId id="2147483978" r:id="rId35"/>
    <p:sldLayoutId id="2147483979" r:id="rId36"/>
    <p:sldLayoutId id="2147483980" r:id="rId37"/>
    <p:sldLayoutId id="2147483981" r:id="rId38"/>
    <p:sldLayoutId id="2147483982" r:id="rId39"/>
    <p:sldLayoutId id="2147483983" r:id="rId40"/>
    <p:sldLayoutId id="2147483984" r:id="rId41"/>
    <p:sldLayoutId id="2147483985" r:id="rId42"/>
    <p:sldLayoutId id="2147483986" r:id="rId43"/>
    <p:sldLayoutId id="2147483987" r:id="rId44"/>
    <p:sldLayoutId id="2147483988" r:id="rId45"/>
    <p:sldLayoutId id="2147483989" r:id="rId46"/>
    <p:sldLayoutId id="2147483990" r:id="rId47"/>
    <p:sldLayoutId id="2147483991" r:id="rId48"/>
    <p:sldLayoutId id="2147483992" r:id="rId49"/>
    <p:sldLayoutId id="2147483993" r:id="rId50"/>
    <p:sldLayoutId id="2147483994" r:id="rId51"/>
    <p:sldLayoutId id="2147483995" r:id="rId52"/>
    <p:sldLayoutId id="2147483996" r:id="rId53"/>
    <p:sldLayoutId id="2147483997" r:id="rId54"/>
    <p:sldLayoutId id="2147483998" r:id="rId55"/>
    <p:sldLayoutId id="2147483999" r:id="rId56"/>
    <p:sldLayoutId id="2147484000" r:id="rId57"/>
    <p:sldLayoutId id="2147484001" r:id="rId58"/>
    <p:sldLayoutId id="2147484002" r:id="rId59"/>
    <p:sldLayoutId id="2147484004" r:id="rId60"/>
    <p:sldLayoutId id="2147484005" r:id="rId61"/>
    <p:sldLayoutId id="2147484006" r:id="rId62"/>
    <p:sldLayoutId id="2147484007" r:id="rId63"/>
    <p:sldLayoutId id="2147484008" r:id="rId64"/>
    <p:sldLayoutId id="2147484009" r:id="rId65"/>
    <p:sldLayoutId id="2147484010" r:id="rId6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BELSIL® Specialties for Personal Care Applications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L. Zirko, Dr. G. Beer, 2016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42138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rgbClr val="313131"/>
                </a:solidFill>
              </a:rPr>
              <a:pPr algn="r"/>
              <a:t>‹#›</a:t>
            </a:fld>
            <a:endParaRPr lang="en-US" sz="1100" b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247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  <p:sldLayoutId id="2147484023" r:id="rId12"/>
    <p:sldLayoutId id="2147484024" r:id="rId13"/>
    <p:sldLayoutId id="2147484025" r:id="rId14"/>
    <p:sldLayoutId id="2147484026" r:id="rId15"/>
    <p:sldLayoutId id="2147484027" r:id="rId16"/>
    <p:sldLayoutId id="2147484028" r:id="rId17"/>
    <p:sldLayoutId id="2147484029" r:id="rId18"/>
    <p:sldLayoutId id="2147484030" r:id="rId19"/>
    <p:sldLayoutId id="2147484031" r:id="rId20"/>
    <p:sldLayoutId id="2147484032" r:id="rId21"/>
    <p:sldLayoutId id="2147484033" r:id="rId22"/>
    <p:sldLayoutId id="2147484034" r:id="rId23"/>
    <p:sldLayoutId id="2147484035" r:id="rId24"/>
    <p:sldLayoutId id="2147484036" r:id="rId25"/>
    <p:sldLayoutId id="2147484037" r:id="rId26"/>
    <p:sldLayoutId id="2147484038" r:id="rId27"/>
    <p:sldLayoutId id="2147484039" r:id="rId28"/>
    <p:sldLayoutId id="2147484040" r:id="rId29"/>
    <p:sldLayoutId id="2147484041" r:id="rId30"/>
    <p:sldLayoutId id="2147484042" r:id="rId31"/>
    <p:sldLayoutId id="2147484043" r:id="rId32"/>
    <p:sldLayoutId id="2147484044" r:id="rId33"/>
    <p:sldLayoutId id="2147484045" r:id="rId34"/>
    <p:sldLayoutId id="2147484046" r:id="rId35"/>
    <p:sldLayoutId id="2147484047" r:id="rId36"/>
    <p:sldLayoutId id="2147484048" r:id="rId37"/>
    <p:sldLayoutId id="2147484049" r:id="rId38"/>
    <p:sldLayoutId id="2147484050" r:id="rId39"/>
    <p:sldLayoutId id="2147484051" r:id="rId40"/>
    <p:sldLayoutId id="2147484052" r:id="rId41"/>
    <p:sldLayoutId id="2147484053" r:id="rId42"/>
    <p:sldLayoutId id="2147484054" r:id="rId43"/>
    <p:sldLayoutId id="2147484055" r:id="rId44"/>
    <p:sldLayoutId id="2147484056" r:id="rId45"/>
    <p:sldLayoutId id="2147484057" r:id="rId46"/>
    <p:sldLayoutId id="2147484058" r:id="rId47"/>
    <p:sldLayoutId id="2147484059" r:id="rId48"/>
    <p:sldLayoutId id="2147484060" r:id="rId49"/>
    <p:sldLayoutId id="2147484061" r:id="rId50"/>
    <p:sldLayoutId id="2147484062" r:id="rId51"/>
    <p:sldLayoutId id="2147484063" r:id="rId52"/>
    <p:sldLayoutId id="2147484064" r:id="rId53"/>
    <p:sldLayoutId id="2147484065" r:id="rId54"/>
    <p:sldLayoutId id="2147484066" r:id="rId55"/>
    <p:sldLayoutId id="2147484067" r:id="rId56"/>
    <p:sldLayoutId id="2147484068" r:id="rId57"/>
    <p:sldLayoutId id="2147484069" r:id="rId58"/>
    <p:sldLayoutId id="2147484070" r:id="rId59"/>
    <p:sldLayoutId id="2147484071" r:id="rId60"/>
    <p:sldLayoutId id="2147484072" r:id="rId61"/>
    <p:sldLayoutId id="2147484073" r:id="rId62"/>
    <p:sldLayoutId id="2147484074" r:id="rId63"/>
    <p:sldLayoutId id="2147484075" r:id="rId64"/>
    <p:sldLayoutId id="2147484076" r:id="rId65"/>
    <p:sldLayoutId id="2147484077" r:id="rId66"/>
    <p:sldLayoutId id="2147484078" r:id="rId6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BELSIL® Specialties for Personal Care Applications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L. Zirko, Dr. G. Beer, 2016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42138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rgbClr val="313131"/>
                </a:solidFill>
              </a:rPr>
              <a:pPr algn="r"/>
              <a:t>‹#›</a:t>
            </a:fld>
            <a:endParaRPr lang="en-US" sz="1100" b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712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5" r:id="rId6"/>
    <p:sldLayoutId id="2147484086" r:id="rId7"/>
    <p:sldLayoutId id="2147484087" r:id="rId8"/>
    <p:sldLayoutId id="2147484088" r:id="rId9"/>
    <p:sldLayoutId id="2147484089" r:id="rId10"/>
    <p:sldLayoutId id="2147484090" r:id="rId11"/>
    <p:sldLayoutId id="2147484091" r:id="rId12"/>
    <p:sldLayoutId id="2147484092" r:id="rId13"/>
    <p:sldLayoutId id="2147484093" r:id="rId14"/>
    <p:sldLayoutId id="2147484094" r:id="rId15"/>
    <p:sldLayoutId id="2147484095" r:id="rId16"/>
    <p:sldLayoutId id="2147484096" r:id="rId17"/>
    <p:sldLayoutId id="2147484097" r:id="rId18"/>
    <p:sldLayoutId id="2147484098" r:id="rId19"/>
    <p:sldLayoutId id="2147484099" r:id="rId20"/>
    <p:sldLayoutId id="2147484100" r:id="rId21"/>
    <p:sldLayoutId id="2147484101" r:id="rId22"/>
    <p:sldLayoutId id="2147484102" r:id="rId23"/>
    <p:sldLayoutId id="2147484103" r:id="rId24"/>
    <p:sldLayoutId id="2147484104" r:id="rId25"/>
    <p:sldLayoutId id="2147484105" r:id="rId26"/>
    <p:sldLayoutId id="2147484106" r:id="rId27"/>
    <p:sldLayoutId id="2147484107" r:id="rId28"/>
    <p:sldLayoutId id="2147484108" r:id="rId29"/>
    <p:sldLayoutId id="2147484109" r:id="rId30"/>
    <p:sldLayoutId id="2147484110" r:id="rId31"/>
    <p:sldLayoutId id="2147484111" r:id="rId32"/>
    <p:sldLayoutId id="2147484112" r:id="rId33"/>
    <p:sldLayoutId id="2147484113" r:id="rId34"/>
    <p:sldLayoutId id="2147484114" r:id="rId35"/>
    <p:sldLayoutId id="2147484115" r:id="rId36"/>
    <p:sldLayoutId id="2147484116" r:id="rId37"/>
    <p:sldLayoutId id="2147484117" r:id="rId38"/>
    <p:sldLayoutId id="2147484118" r:id="rId39"/>
    <p:sldLayoutId id="2147484119" r:id="rId40"/>
    <p:sldLayoutId id="2147484120" r:id="rId41"/>
    <p:sldLayoutId id="2147484121" r:id="rId42"/>
    <p:sldLayoutId id="2147484122" r:id="rId43"/>
    <p:sldLayoutId id="2147484123" r:id="rId44"/>
    <p:sldLayoutId id="2147484124" r:id="rId45"/>
    <p:sldLayoutId id="2147484125" r:id="rId46"/>
    <p:sldLayoutId id="2147484126" r:id="rId47"/>
    <p:sldLayoutId id="2147484127" r:id="rId48"/>
    <p:sldLayoutId id="2147484128" r:id="rId49"/>
    <p:sldLayoutId id="2147484129" r:id="rId50"/>
    <p:sldLayoutId id="2147484130" r:id="rId51"/>
    <p:sldLayoutId id="2147484131" r:id="rId52"/>
    <p:sldLayoutId id="2147484132" r:id="rId53"/>
    <p:sldLayoutId id="2147484133" r:id="rId54"/>
    <p:sldLayoutId id="2147484134" r:id="rId55"/>
    <p:sldLayoutId id="2147484135" r:id="rId56"/>
    <p:sldLayoutId id="2147484136" r:id="rId57"/>
    <p:sldLayoutId id="2147484137" r:id="rId58"/>
    <p:sldLayoutId id="2147484138" r:id="rId59"/>
    <p:sldLayoutId id="2147484139" r:id="rId60"/>
    <p:sldLayoutId id="2147484140" r:id="rId61"/>
    <p:sldLayoutId id="2147484141" r:id="rId62"/>
    <p:sldLayoutId id="2147484142" r:id="rId63"/>
    <p:sldLayoutId id="2147484143" r:id="rId64"/>
    <p:sldLayoutId id="2147484144" r:id="rId65"/>
    <p:sldLayoutId id="2147484145" r:id="rId66"/>
    <p:sldLayoutId id="2147484146" r:id="rId6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BELSIL® Specialties for Personal Care Applications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L. Zirko, Dr. G. Beer, 2016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42138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rgbClr val="313131"/>
                </a:solidFill>
              </a:rPr>
              <a:pPr algn="r"/>
              <a:t>‹#›</a:t>
            </a:fld>
            <a:endParaRPr lang="en-US" sz="1100" b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498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8" r:id="rId1"/>
    <p:sldLayoutId id="2147484149" r:id="rId2"/>
    <p:sldLayoutId id="2147484150" r:id="rId3"/>
    <p:sldLayoutId id="2147484151" r:id="rId4"/>
    <p:sldLayoutId id="2147484152" r:id="rId5"/>
    <p:sldLayoutId id="2147484153" r:id="rId6"/>
    <p:sldLayoutId id="2147484154" r:id="rId7"/>
    <p:sldLayoutId id="2147484155" r:id="rId8"/>
    <p:sldLayoutId id="2147484156" r:id="rId9"/>
    <p:sldLayoutId id="2147484157" r:id="rId10"/>
    <p:sldLayoutId id="2147484158" r:id="rId11"/>
    <p:sldLayoutId id="2147484159" r:id="rId12"/>
    <p:sldLayoutId id="2147484160" r:id="rId13"/>
    <p:sldLayoutId id="2147484161" r:id="rId14"/>
    <p:sldLayoutId id="2147484162" r:id="rId15"/>
    <p:sldLayoutId id="2147484163" r:id="rId16"/>
    <p:sldLayoutId id="2147484164" r:id="rId17"/>
    <p:sldLayoutId id="2147484165" r:id="rId18"/>
    <p:sldLayoutId id="2147484166" r:id="rId19"/>
    <p:sldLayoutId id="2147484167" r:id="rId20"/>
    <p:sldLayoutId id="2147484168" r:id="rId21"/>
    <p:sldLayoutId id="2147484169" r:id="rId22"/>
    <p:sldLayoutId id="2147484170" r:id="rId23"/>
    <p:sldLayoutId id="2147484171" r:id="rId24"/>
    <p:sldLayoutId id="2147484172" r:id="rId25"/>
    <p:sldLayoutId id="2147484173" r:id="rId26"/>
    <p:sldLayoutId id="2147484174" r:id="rId27"/>
    <p:sldLayoutId id="2147484175" r:id="rId28"/>
    <p:sldLayoutId id="2147484176" r:id="rId29"/>
    <p:sldLayoutId id="2147484177" r:id="rId30"/>
    <p:sldLayoutId id="2147484178" r:id="rId31"/>
    <p:sldLayoutId id="2147484179" r:id="rId32"/>
    <p:sldLayoutId id="2147484180" r:id="rId33"/>
    <p:sldLayoutId id="2147484181" r:id="rId34"/>
    <p:sldLayoutId id="2147484182" r:id="rId35"/>
    <p:sldLayoutId id="2147484183" r:id="rId36"/>
    <p:sldLayoutId id="2147484184" r:id="rId37"/>
    <p:sldLayoutId id="2147484185" r:id="rId38"/>
    <p:sldLayoutId id="2147484186" r:id="rId39"/>
    <p:sldLayoutId id="2147484187" r:id="rId40"/>
    <p:sldLayoutId id="2147484188" r:id="rId41"/>
    <p:sldLayoutId id="2147484189" r:id="rId42"/>
    <p:sldLayoutId id="2147484190" r:id="rId43"/>
    <p:sldLayoutId id="2147484191" r:id="rId44"/>
    <p:sldLayoutId id="2147484192" r:id="rId45"/>
    <p:sldLayoutId id="2147484193" r:id="rId46"/>
    <p:sldLayoutId id="2147484194" r:id="rId47"/>
    <p:sldLayoutId id="2147484195" r:id="rId48"/>
    <p:sldLayoutId id="2147484196" r:id="rId49"/>
    <p:sldLayoutId id="2147484197" r:id="rId50"/>
    <p:sldLayoutId id="2147484198" r:id="rId51"/>
    <p:sldLayoutId id="2147484199" r:id="rId52"/>
    <p:sldLayoutId id="2147484200" r:id="rId53"/>
    <p:sldLayoutId id="2147484201" r:id="rId54"/>
    <p:sldLayoutId id="2147484202" r:id="rId55"/>
    <p:sldLayoutId id="2147484203" r:id="rId56"/>
    <p:sldLayoutId id="2147484204" r:id="rId57"/>
    <p:sldLayoutId id="2147484205" r:id="rId58"/>
    <p:sldLayoutId id="2147484206" r:id="rId59"/>
    <p:sldLayoutId id="2147484207" r:id="rId60"/>
    <p:sldLayoutId id="2147484208" r:id="rId61"/>
    <p:sldLayoutId id="2147484209" r:id="rId62"/>
    <p:sldLayoutId id="2147484210" r:id="rId63"/>
    <p:sldLayoutId id="2147484211" r:id="rId64"/>
    <p:sldLayoutId id="2147484212" r:id="rId65"/>
    <p:sldLayoutId id="2147484213" r:id="rId66"/>
    <p:sldLayoutId id="2147484214" r:id="rId6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BELSIL® Specialties for Personal Care Applications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L. Zirko, Dr. G. Beer, 2016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42138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rgbClr val="313131"/>
                </a:solidFill>
              </a:rPr>
              <a:pPr algn="r"/>
              <a:t>‹#›</a:t>
            </a:fld>
            <a:endParaRPr lang="en-US" sz="1100" b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311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  <p:sldLayoutId id="2147484219" r:id="rId4"/>
    <p:sldLayoutId id="2147484220" r:id="rId5"/>
    <p:sldLayoutId id="2147484221" r:id="rId6"/>
    <p:sldLayoutId id="2147484222" r:id="rId7"/>
    <p:sldLayoutId id="2147484223" r:id="rId8"/>
    <p:sldLayoutId id="2147484224" r:id="rId9"/>
    <p:sldLayoutId id="2147484225" r:id="rId10"/>
    <p:sldLayoutId id="2147484226" r:id="rId11"/>
    <p:sldLayoutId id="2147484227" r:id="rId12"/>
    <p:sldLayoutId id="2147484228" r:id="rId13"/>
    <p:sldLayoutId id="2147484229" r:id="rId14"/>
    <p:sldLayoutId id="2147484230" r:id="rId15"/>
    <p:sldLayoutId id="2147484231" r:id="rId16"/>
    <p:sldLayoutId id="2147484232" r:id="rId17"/>
    <p:sldLayoutId id="2147484233" r:id="rId18"/>
    <p:sldLayoutId id="2147484234" r:id="rId19"/>
    <p:sldLayoutId id="2147484235" r:id="rId20"/>
    <p:sldLayoutId id="2147484236" r:id="rId21"/>
    <p:sldLayoutId id="2147484237" r:id="rId22"/>
    <p:sldLayoutId id="2147484238" r:id="rId23"/>
    <p:sldLayoutId id="2147484239" r:id="rId24"/>
    <p:sldLayoutId id="2147484240" r:id="rId25"/>
    <p:sldLayoutId id="2147484241" r:id="rId26"/>
    <p:sldLayoutId id="2147484242" r:id="rId27"/>
    <p:sldLayoutId id="2147484243" r:id="rId28"/>
    <p:sldLayoutId id="2147484244" r:id="rId29"/>
    <p:sldLayoutId id="2147484245" r:id="rId30"/>
    <p:sldLayoutId id="2147484246" r:id="rId31"/>
    <p:sldLayoutId id="2147484247" r:id="rId32"/>
    <p:sldLayoutId id="2147484248" r:id="rId33"/>
    <p:sldLayoutId id="2147484249" r:id="rId34"/>
    <p:sldLayoutId id="2147484250" r:id="rId35"/>
    <p:sldLayoutId id="2147484251" r:id="rId36"/>
    <p:sldLayoutId id="2147484252" r:id="rId37"/>
    <p:sldLayoutId id="2147484253" r:id="rId38"/>
    <p:sldLayoutId id="2147484254" r:id="rId39"/>
    <p:sldLayoutId id="2147484255" r:id="rId40"/>
    <p:sldLayoutId id="2147484256" r:id="rId41"/>
    <p:sldLayoutId id="2147484257" r:id="rId42"/>
    <p:sldLayoutId id="2147484258" r:id="rId43"/>
    <p:sldLayoutId id="2147484259" r:id="rId44"/>
    <p:sldLayoutId id="2147484260" r:id="rId45"/>
    <p:sldLayoutId id="2147484261" r:id="rId46"/>
    <p:sldLayoutId id="2147484262" r:id="rId47"/>
    <p:sldLayoutId id="2147484263" r:id="rId48"/>
    <p:sldLayoutId id="2147484264" r:id="rId49"/>
    <p:sldLayoutId id="2147484265" r:id="rId50"/>
    <p:sldLayoutId id="2147484266" r:id="rId51"/>
    <p:sldLayoutId id="2147484267" r:id="rId52"/>
    <p:sldLayoutId id="2147484268" r:id="rId53"/>
    <p:sldLayoutId id="2147484269" r:id="rId54"/>
    <p:sldLayoutId id="2147484270" r:id="rId55"/>
    <p:sldLayoutId id="2147484271" r:id="rId56"/>
    <p:sldLayoutId id="2147484272" r:id="rId57"/>
    <p:sldLayoutId id="2147484273" r:id="rId58"/>
    <p:sldLayoutId id="2147484274" r:id="rId59"/>
    <p:sldLayoutId id="2147484275" r:id="rId60"/>
    <p:sldLayoutId id="2147484276" r:id="rId61"/>
    <p:sldLayoutId id="2147484277" r:id="rId62"/>
    <p:sldLayoutId id="2147484278" r:id="rId63"/>
    <p:sldLayoutId id="2147484279" r:id="rId64"/>
    <p:sldLayoutId id="2147484280" r:id="rId65"/>
    <p:sldLayoutId id="2147484281" r:id="rId66"/>
    <p:sldLayoutId id="2147484282" r:id="rId6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13,04</a:t>
            </a:r>
            <a:endParaRPr lang="en-US" sz="400" dirty="0">
              <a:solidFill>
                <a:srgbClr val="FFFFFF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6,03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rgbClr val="FFFFFF"/>
                </a:solidFill>
              </a:rPr>
              <a:t>7,90</a:t>
            </a:r>
            <a:endParaRPr lang="en-US" sz="400" dirty="0">
              <a:solidFill>
                <a:srgbClr val="FFFFFF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BELSIL® Specialties for Personal Care Applications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rgbClr val="313131"/>
                </a:solidFill>
              </a:rPr>
              <a:t>L. Zirko, Dr. G. Beer, 2016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42138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13131"/>
                </a:solidFill>
              </a:endParaRPr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rgbClr val="313131"/>
                </a:solidFill>
              </a:rPr>
              <a:pPr algn="r"/>
              <a:t>‹#›</a:t>
            </a:fld>
            <a:endParaRPr lang="en-US" sz="1100" b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142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  <p:sldLayoutId id="2147484295" r:id="rId12"/>
    <p:sldLayoutId id="2147484296" r:id="rId13"/>
    <p:sldLayoutId id="2147484297" r:id="rId14"/>
    <p:sldLayoutId id="2147484298" r:id="rId15"/>
    <p:sldLayoutId id="2147484299" r:id="rId16"/>
    <p:sldLayoutId id="2147484300" r:id="rId17"/>
    <p:sldLayoutId id="2147484301" r:id="rId18"/>
    <p:sldLayoutId id="2147484302" r:id="rId19"/>
    <p:sldLayoutId id="2147484303" r:id="rId20"/>
    <p:sldLayoutId id="2147484304" r:id="rId21"/>
    <p:sldLayoutId id="2147484305" r:id="rId22"/>
    <p:sldLayoutId id="2147484306" r:id="rId23"/>
    <p:sldLayoutId id="2147484307" r:id="rId24"/>
    <p:sldLayoutId id="2147484308" r:id="rId25"/>
    <p:sldLayoutId id="2147484309" r:id="rId26"/>
    <p:sldLayoutId id="2147484310" r:id="rId27"/>
    <p:sldLayoutId id="2147484311" r:id="rId28"/>
    <p:sldLayoutId id="2147484312" r:id="rId29"/>
    <p:sldLayoutId id="2147484313" r:id="rId30"/>
    <p:sldLayoutId id="2147484314" r:id="rId31"/>
    <p:sldLayoutId id="2147484315" r:id="rId32"/>
    <p:sldLayoutId id="2147484316" r:id="rId33"/>
    <p:sldLayoutId id="2147484317" r:id="rId34"/>
    <p:sldLayoutId id="2147484318" r:id="rId35"/>
    <p:sldLayoutId id="2147484319" r:id="rId36"/>
    <p:sldLayoutId id="2147484320" r:id="rId37"/>
    <p:sldLayoutId id="2147484321" r:id="rId38"/>
    <p:sldLayoutId id="2147484322" r:id="rId39"/>
    <p:sldLayoutId id="2147484323" r:id="rId40"/>
    <p:sldLayoutId id="2147484324" r:id="rId41"/>
    <p:sldLayoutId id="2147484325" r:id="rId42"/>
    <p:sldLayoutId id="2147484326" r:id="rId43"/>
    <p:sldLayoutId id="2147484327" r:id="rId44"/>
    <p:sldLayoutId id="2147484328" r:id="rId45"/>
    <p:sldLayoutId id="2147484329" r:id="rId46"/>
    <p:sldLayoutId id="2147484330" r:id="rId47"/>
    <p:sldLayoutId id="2147484331" r:id="rId48"/>
    <p:sldLayoutId id="2147484332" r:id="rId49"/>
    <p:sldLayoutId id="2147484333" r:id="rId50"/>
    <p:sldLayoutId id="2147484334" r:id="rId51"/>
    <p:sldLayoutId id="2147484335" r:id="rId52"/>
    <p:sldLayoutId id="2147484336" r:id="rId53"/>
    <p:sldLayoutId id="2147484337" r:id="rId54"/>
    <p:sldLayoutId id="2147484338" r:id="rId55"/>
    <p:sldLayoutId id="2147484339" r:id="rId56"/>
    <p:sldLayoutId id="2147484340" r:id="rId57"/>
    <p:sldLayoutId id="2147484341" r:id="rId58"/>
    <p:sldLayoutId id="2147484342" r:id="rId59"/>
    <p:sldLayoutId id="2147484343" r:id="rId60"/>
    <p:sldLayoutId id="2147484344" r:id="rId61"/>
    <p:sldLayoutId id="2147484345" r:id="rId62"/>
    <p:sldLayoutId id="2147484346" r:id="rId63"/>
    <p:sldLayoutId id="2147484347" r:id="rId64"/>
    <p:sldLayoutId id="2147484348" r:id="rId65"/>
    <p:sldLayoutId id="2147484349" r:id="rId66"/>
    <p:sldLayoutId id="2147484350" r:id="rId6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2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3" Type="http://schemas.openxmlformats.org/officeDocument/2006/relationships/oleObject" Target="../embeddings/oleObject44.bin"/><Relationship Id="rId7" Type="http://schemas.openxmlformats.org/officeDocument/2006/relationships/oleObject" Target="../embeddings/oleObject46.bin"/><Relationship Id="rId2" Type="http://schemas.openxmlformats.org/officeDocument/2006/relationships/slideLayout" Target="../slideLayouts/slideLayout13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3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7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13" Type="http://schemas.openxmlformats.org/officeDocument/2006/relationships/image" Target="../media/image40.jpeg"/><Relationship Id="rId18" Type="http://schemas.openxmlformats.org/officeDocument/2006/relationships/hyperlink" Target="http://zglobeteams/copi/S_MS432-PersonalCare/Prod_App_all/WackerImageLibrary/Product%20Photos/DM_500000_layout.jpg" TargetMode="External"/><Relationship Id="rId3" Type="http://schemas.openxmlformats.org/officeDocument/2006/relationships/slideLayout" Target="../slideLayouts/slideLayout64.xml"/><Relationship Id="rId21" Type="http://schemas.openxmlformats.org/officeDocument/2006/relationships/image" Target="../media/image47.jpeg"/><Relationship Id="rId7" Type="http://schemas.openxmlformats.org/officeDocument/2006/relationships/image" Target="../media/image34.jpeg"/><Relationship Id="rId12" Type="http://schemas.openxmlformats.org/officeDocument/2006/relationships/image" Target="../media/image39.jpeg"/><Relationship Id="rId17" Type="http://schemas.openxmlformats.org/officeDocument/2006/relationships/image" Target="../media/image44.jpeg"/><Relationship Id="rId25" Type="http://schemas.openxmlformats.org/officeDocument/2006/relationships/image" Target="../media/image51.jpeg"/><Relationship Id="rId2" Type="http://schemas.openxmlformats.org/officeDocument/2006/relationships/tags" Target="../tags/tag42.xml"/><Relationship Id="rId16" Type="http://schemas.openxmlformats.org/officeDocument/2006/relationships/image" Target="../media/image43.jpeg"/><Relationship Id="rId20" Type="http://schemas.openxmlformats.org/officeDocument/2006/relationships/image" Target="../media/image46.jpeg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11" Type="http://schemas.openxmlformats.org/officeDocument/2006/relationships/image" Target="../media/image38.png"/><Relationship Id="rId24" Type="http://schemas.openxmlformats.org/officeDocument/2006/relationships/image" Target="../media/image50.jpeg"/><Relationship Id="rId5" Type="http://schemas.openxmlformats.org/officeDocument/2006/relationships/oleObject" Target="../embeddings/oleObject42.bin"/><Relationship Id="rId15" Type="http://schemas.openxmlformats.org/officeDocument/2006/relationships/image" Target="../media/image42.jpeg"/><Relationship Id="rId23" Type="http://schemas.openxmlformats.org/officeDocument/2006/relationships/image" Target="../media/image49.jpeg"/><Relationship Id="rId10" Type="http://schemas.openxmlformats.org/officeDocument/2006/relationships/image" Target="../media/image37.jpeg"/><Relationship Id="rId19" Type="http://schemas.openxmlformats.org/officeDocument/2006/relationships/image" Target="../media/image45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6.jpeg"/><Relationship Id="rId14" Type="http://schemas.openxmlformats.org/officeDocument/2006/relationships/image" Target="../media/image41.jpeg"/><Relationship Id="rId22" Type="http://schemas.openxmlformats.org/officeDocument/2006/relationships/image" Target="../media/image4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21.xml"/><Relationship Id="rId1" Type="http://schemas.openxmlformats.org/officeDocument/2006/relationships/vmlDrawing" Target="../drawings/vmlDrawing43.vml"/><Relationship Id="rId4" Type="http://schemas.openxmlformats.org/officeDocument/2006/relationships/image" Target="../media/image53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902" y="5849009"/>
            <a:ext cx="9424966" cy="1298448"/>
          </a:xfrm>
        </p:spPr>
        <p:txBody>
          <a:bodyPr/>
          <a:lstStyle/>
          <a:p>
            <a:r>
              <a:rPr lang="ru-RU" dirty="0" smtClean="0"/>
              <a:t>Новинки </a:t>
            </a:r>
            <a:r>
              <a:rPr lang="en-US" dirty="0" smtClean="0"/>
              <a:t>Wacker </a:t>
            </a:r>
            <a:r>
              <a:rPr lang="ru-RU" dirty="0" smtClean="0"/>
              <a:t>в средствах по уходу за волосам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Алексей Бударагин, ООО Вакер Хеми Рус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55339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313131"/>
                </a:solidFill>
              </a:rPr>
              <a:t>Заметное повышение блеска волос при использовании прозрачного шампуня на основе </a:t>
            </a:r>
            <a:r>
              <a:rPr lang="en-US" dirty="0">
                <a:solidFill>
                  <a:srgbClr val="313131"/>
                </a:solidFill>
              </a:rPr>
              <a:t>BELSIL</a:t>
            </a:r>
            <a:r>
              <a:rPr lang="en-US" baseline="30000" dirty="0">
                <a:solidFill>
                  <a:srgbClr val="313131"/>
                </a:solidFill>
              </a:rPr>
              <a:t>®</a:t>
            </a:r>
            <a:r>
              <a:rPr lang="en-US" dirty="0">
                <a:solidFill>
                  <a:srgbClr val="313131"/>
                </a:solidFill>
              </a:rPr>
              <a:t> PF 200</a:t>
            </a:r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ru-RU" dirty="0">
                <a:solidFill>
                  <a:srgbClr val="436597"/>
                </a:solidFill>
              </a:rPr>
              <a:t>Результаты и комментарии</a:t>
            </a:r>
            <a:endParaRPr lang="de-DE" dirty="0">
              <a:solidFill>
                <a:srgbClr val="436597"/>
              </a:solidFill>
            </a:endParaRPr>
          </a:p>
          <a:p>
            <a:pPr marL="342900" lvl="1" indent="-342900"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13131"/>
                </a:solidFill>
              </a:rPr>
              <a:t>Очевидное преимущество шампуня, содержащего всего 0,5% </a:t>
            </a:r>
            <a:r>
              <a:rPr lang="de-DE" dirty="0">
                <a:solidFill>
                  <a:srgbClr val="313131"/>
                </a:solidFill>
              </a:rPr>
              <a:t>BELSIL</a:t>
            </a:r>
            <a:r>
              <a:rPr lang="de-DE" baseline="30000" dirty="0">
                <a:solidFill>
                  <a:srgbClr val="313131"/>
                </a:solidFill>
              </a:rPr>
              <a:t>®</a:t>
            </a:r>
            <a:r>
              <a:rPr lang="de-DE" dirty="0">
                <a:solidFill>
                  <a:srgbClr val="313131"/>
                </a:solidFill>
              </a:rPr>
              <a:t> PF 200</a:t>
            </a:r>
          </a:p>
          <a:p>
            <a:pPr marL="342900" lvl="1" indent="-342900"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13131"/>
                </a:solidFill>
              </a:rPr>
              <a:t>Система шампуня остаётся прозрачной после добавления  </a:t>
            </a:r>
            <a:r>
              <a:rPr lang="de-DE" dirty="0">
                <a:solidFill>
                  <a:srgbClr val="313131"/>
                </a:solidFill>
              </a:rPr>
              <a:t>0,5 % BELSIL</a:t>
            </a:r>
            <a:r>
              <a:rPr lang="de-DE" baseline="30000" dirty="0">
                <a:solidFill>
                  <a:srgbClr val="313131"/>
                </a:solidFill>
              </a:rPr>
              <a:t>®</a:t>
            </a:r>
            <a:r>
              <a:rPr lang="de-DE" dirty="0">
                <a:solidFill>
                  <a:srgbClr val="313131"/>
                </a:solidFill>
              </a:rPr>
              <a:t> PF 200</a:t>
            </a:r>
            <a:r>
              <a:rPr lang="ru-RU" dirty="0">
                <a:solidFill>
                  <a:srgbClr val="313131"/>
                </a:solidFill>
              </a:rPr>
              <a:t> </a:t>
            </a:r>
          </a:p>
          <a:p>
            <a:pPr marL="342900" lvl="1" indent="-342900"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313131"/>
                </a:solidFill>
              </a:rPr>
              <a:t>BELSIL</a:t>
            </a:r>
            <a:r>
              <a:rPr lang="de-DE" baseline="30000" dirty="0">
                <a:solidFill>
                  <a:srgbClr val="313131"/>
                </a:solidFill>
              </a:rPr>
              <a:t>®</a:t>
            </a:r>
            <a:r>
              <a:rPr lang="de-DE" dirty="0">
                <a:solidFill>
                  <a:srgbClr val="313131"/>
                </a:solidFill>
              </a:rPr>
              <a:t> PF 200 </a:t>
            </a:r>
            <a:r>
              <a:rPr lang="ru-RU" dirty="0">
                <a:solidFill>
                  <a:srgbClr val="313131"/>
                </a:solidFill>
              </a:rPr>
              <a:t>влияет на  </a:t>
            </a:r>
            <a:r>
              <a:rPr lang="ru-RU" dirty="0" err="1">
                <a:solidFill>
                  <a:srgbClr val="313131"/>
                </a:solidFill>
              </a:rPr>
              <a:t>мицеллобразование</a:t>
            </a:r>
            <a:r>
              <a:rPr lang="ru-RU" dirty="0">
                <a:solidFill>
                  <a:srgbClr val="313131"/>
                </a:solidFill>
              </a:rPr>
              <a:t>, поэтому необходимо дополнительно стабилизировать вязкость шампуня </a:t>
            </a:r>
            <a:endParaRPr lang="de-DE" dirty="0">
              <a:solidFill>
                <a:srgbClr val="313131"/>
              </a:solidFill>
            </a:endParaRPr>
          </a:p>
          <a:p>
            <a:endParaRPr lang="de-DE" dirty="0"/>
          </a:p>
        </p:txBody>
      </p:sp>
      <p:graphicFrame>
        <p:nvGraphicFramePr>
          <p:cNvPr id="10" name="Diagram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9796520"/>
              </p:ext>
            </p:extLst>
          </p:nvPr>
        </p:nvGraphicFramePr>
        <p:xfrm>
          <a:off x="600529" y="1495879"/>
          <a:ext cx="4584658" cy="5127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78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евосходные потребительские свойства шампуня </a:t>
            </a:r>
            <a:br>
              <a:rPr lang="ru-RU" dirty="0" smtClean="0"/>
            </a:br>
            <a:r>
              <a:rPr lang="ru-RU" dirty="0" smtClean="0"/>
              <a:t>с</a:t>
            </a:r>
            <a:r>
              <a:rPr lang="de-DE" dirty="0" smtClean="0"/>
              <a:t> BELSIL</a:t>
            </a:r>
            <a:r>
              <a:rPr lang="de-DE" baseline="30000" dirty="0" smtClean="0"/>
              <a:t>®</a:t>
            </a:r>
            <a:r>
              <a:rPr lang="de-DE" dirty="0" smtClean="0"/>
              <a:t> PF 200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652463" y="5859225"/>
            <a:ext cx="9390062" cy="760959"/>
          </a:xfrm>
        </p:spPr>
        <p:txBody>
          <a:bodyPr/>
          <a:lstStyle/>
          <a:p>
            <a:r>
              <a:rPr lang="ru-RU" dirty="0" smtClean="0"/>
              <a:t>Значительное повышение потребительских свойств шампуня </a:t>
            </a:r>
          </a:p>
          <a:p>
            <a:pPr marL="0" indent="0">
              <a:buNone/>
            </a:pPr>
            <a:r>
              <a:rPr lang="ru-RU" dirty="0" smtClean="0"/>
              <a:t>с </a:t>
            </a:r>
            <a:r>
              <a:rPr lang="de-DE" dirty="0" smtClean="0"/>
              <a:t> BELSIL</a:t>
            </a:r>
            <a:r>
              <a:rPr lang="de-DE" baseline="30000" dirty="0" smtClean="0"/>
              <a:t>®</a:t>
            </a:r>
            <a:r>
              <a:rPr lang="de-DE" dirty="0" smtClean="0"/>
              <a:t> PF 200</a:t>
            </a:r>
            <a:r>
              <a:rPr lang="ru-RU" dirty="0" smtClean="0"/>
              <a:t> для волос в сухом и влажном состоянии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738864" y="1325021"/>
            <a:ext cx="4410000" cy="4345200"/>
          </a:xfrm>
        </p:spPr>
        <p:txBody>
          <a:bodyPr/>
          <a:lstStyle/>
          <a:p>
            <a:r>
              <a:rPr lang="ru-RU" dirty="0" smtClean="0"/>
              <a:t>Облегчение расчёсывания влажных волос</a:t>
            </a:r>
            <a:endParaRPr lang="de-DE" dirty="0"/>
          </a:p>
        </p:txBody>
      </p:sp>
      <p:graphicFrame>
        <p:nvGraphicFramePr>
          <p:cNvPr id="10" name="Diagram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2106138"/>
              </p:ext>
            </p:extLst>
          </p:nvPr>
        </p:nvGraphicFramePr>
        <p:xfrm>
          <a:off x="1067065" y="2031248"/>
          <a:ext cx="3947160" cy="3654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37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ласть применения</a:t>
            </a:r>
            <a:r>
              <a:rPr lang="de-DE" dirty="0" smtClean="0"/>
              <a:t> BELSIL</a:t>
            </a:r>
            <a:r>
              <a:rPr lang="de-DE" baseline="30000" dirty="0" smtClean="0"/>
              <a:t>®</a:t>
            </a:r>
            <a:r>
              <a:rPr lang="de-DE" dirty="0" smtClean="0"/>
              <a:t> PF 200</a:t>
            </a:r>
            <a:endParaRPr lang="de-DE" dirty="0"/>
          </a:p>
        </p:txBody>
      </p:sp>
      <p:graphicFrame>
        <p:nvGraphicFramePr>
          <p:cNvPr id="7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3934565"/>
              </p:ext>
            </p:extLst>
          </p:nvPr>
        </p:nvGraphicFramePr>
        <p:xfrm>
          <a:off x="638174" y="1598609"/>
          <a:ext cx="9403088" cy="4516599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1769360"/>
                <a:gridCol w="5639697"/>
                <a:gridCol w="1994031"/>
              </a:tblGrid>
              <a:tr h="723307">
                <a:tc>
                  <a:txBody>
                    <a:bodyPr/>
                    <a:lstStyle/>
                    <a:p>
                      <a:pPr lvl="0" algn="l" fontAlgn="b"/>
                      <a:r>
                        <a:rPr lang="de-DE" sz="2000" b="1" i="0" u="none" strike="noStrike" dirty="0" smtClean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BELSIL</a:t>
                      </a:r>
                      <a:r>
                        <a:rPr lang="de-DE" sz="2000" b="1" i="0" u="none" strike="noStrike" baseline="30000" dirty="0" smtClean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®</a:t>
                      </a:r>
                      <a:endParaRPr lang="de-DE" sz="2000" b="1" i="0" u="none" strike="noStrike" baseline="30000" dirty="0">
                        <a:solidFill>
                          <a:srgbClr val="5E86C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de-DE" sz="2000" b="1" i="0" u="none" strike="noStrike" dirty="0" err="1" smtClean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Formulation</a:t>
                      </a:r>
                      <a:endParaRPr lang="de-DE" sz="2000" b="1" i="0" u="none" strike="noStrike" dirty="0">
                        <a:solidFill>
                          <a:srgbClr val="5E86C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2000" b="1" i="0" u="none" strike="noStrike" dirty="0" smtClean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Nr.</a:t>
                      </a:r>
                      <a:endParaRPr lang="de-DE" sz="2000" b="1" i="0" u="none" strike="noStrike" dirty="0">
                        <a:solidFill>
                          <a:srgbClr val="5E86C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72098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F 200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Illuminating</a:t>
                      </a:r>
                      <a:r>
                        <a:rPr lang="de-DE" sz="18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Shampoo</a:t>
                      </a:r>
                      <a:endParaRPr lang="de-DE" sz="1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25</a:t>
                      </a:r>
                      <a:endParaRPr lang="de-DE" sz="18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72098">
                <a:tc>
                  <a:txBody>
                    <a:bodyPr/>
                    <a:lstStyle/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F 200</a:t>
                      </a:r>
                    </a:p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M 1 plus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ine</a:t>
                      </a:r>
                      <a:r>
                        <a:rPr lang="de-D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Spray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72098">
                <a:tc>
                  <a:txBody>
                    <a:bodyPr/>
                    <a:lstStyle/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F 200</a:t>
                      </a:r>
                    </a:p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110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racle</a:t>
                      </a:r>
                      <a:r>
                        <a:rPr lang="de-D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aping</a:t>
                      </a:r>
                      <a:r>
                        <a:rPr lang="de-D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lm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72098">
                <a:tc>
                  <a:txBody>
                    <a:bodyPr/>
                    <a:lstStyle/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F 200</a:t>
                      </a:r>
                    </a:p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M 8301 E</a:t>
                      </a:r>
                    </a:p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B 1020</a:t>
                      </a:r>
                    </a:p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M 1 </a:t>
                      </a:r>
                      <a:r>
                        <a:rPr kumimoji="0" lang="pt-BR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us</a:t>
                      </a:r>
                      <a:endParaRPr kumimoji="0" lang="pt-BR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Easy </a:t>
                      </a:r>
                      <a:r>
                        <a:rPr lang="de-DE" sz="1800" b="0" i="0" u="none" strike="noStrike" dirty="0" err="1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Detangling</a:t>
                      </a:r>
                      <a:r>
                        <a:rPr lang="de-DE" sz="18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 2-phase Spray</a:t>
                      </a:r>
                      <a:endParaRPr lang="de-DE" sz="18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29</a:t>
                      </a:r>
                      <a:endParaRPr lang="de-DE" sz="18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72098">
                <a:tc>
                  <a:txBody>
                    <a:bodyPr/>
                    <a:lstStyle/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F 200</a:t>
                      </a:r>
                    </a:p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M 6300 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parkling Color </a:t>
                      </a:r>
                      <a:r>
                        <a:rPr lang="de-DE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tection</a:t>
                      </a:r>
                      <a:r>
                        <a:rPr lang="de-D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sk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02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Inhaltsplatzhalter 9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445747118"/>
              </p:ext>
            </p:extLst>
          </p:nvPr>
        </p:nvGraphicFramePr>
        <p:xfrm>
          <a:off x="652461" y="1622420"/>
          <a:ext cx="9388802" cy="45752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915082"/>
                <a:gridCol w="2541319"/>
                <a:gridCol w="4655128"/>
                <a:gridCol w="1277273"/>
              </a:tblGrid>
              <a:tr h="614924">
                <a:tc>
                  <a:txBody>
                    <a:bodyPr/>
                    <a:lstStyle/>
                    <a:p>
                      <a:r>
                        <a:rPr kumimoji="0" lang="de-DE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Phase</a:t>
                      </a:r>
                      <a:endParaRPr kumimoji="0" lang="de-DE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Trade </a:t>
                      </a:r>
                      <a:r>
                        <a:rPr kumimoji="0" lang="de-DE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INCI </a:t>
                      </a:r>
                      <a:r>
                        <a:rPr lang="de-DE" sz="1800" b="1" dirty="0" err="1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name</a:t>
                      </a:r>
                      <a:endParaRPr lang="de-DE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Conc</a:t>
                      </a:r>
                      <a:r>
                        <a:rPr lang="de-DE" sz="1800" b="1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. (%)</a:t>
                      </a:r>
                    </a:p>
                  </a:txBody>
                  <a:tcPr anchor="ctr"/>
                </a:tc>
              </a:tr>
              <a:tr h="376603">
                <a:tc>
                  <a:txBody>
                    <a:bodyPr/>
                    <a:lstStyle/>
                    <a:p>
                      <a:r>
                        <a:rPr lang="de-DE" sz="1600" dirty="0">
                          <a:effectLst/>
                        </a:rPr>
                        <a:t>A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effectLst/>
                        </a:rPr>
                        <a:t>Unicert</a:t>
                      </a:r>
                      <a:r>
                        <a:rPr lang="de-DE" sz="1600" dirty="0" smtClean="0">
                          <a:effectLst/>
                        </a:rPr>
                        <a:t> Yellow 08006-J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effectLst/>
                        </a:rPr>
                        <a:t>CI 19140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effectLst/>
                        </a:rPr>
                        <a:t>0,01</a:t>
                      </a:r>
                      <a:endParaRPr lang="de-DE" sz="1600" dirty="0"/>
                    </a:p>
                  </a:txBody>
                  <a:tcPr/>
                </a:tc>
              </a:tr>
              <a:tr h="566985"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rgbClr val="A33B3B"/>
                          </a:solidFill>
                          <a:effectLst/>
                        </a:rPr>
                        <a:t>A</a:t>
                      </a:r>
                      <a:endParaRPr lang="de-DE" sz="1600" b="1" dirty="0">
                        <a:solidFill>
                          <a:srgbClr val="A33B3B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BELSIL® ADM 8301 E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err="1">
                          <a:solidFill>
                            <a:schemeClr val="tx1"/>
                          </a:solidFill>
                          <a:effectLst/>
                        </a:rPr>
                        <a:t>Amodimethicone</a:t>
                      </a:r>
                      <a:r>
                        <a:rPr lang="de-DE" sz="1600" b="1" dirty="0" smtClean="0">
                          <a:solidFill>
                            <a:schemeClr val="tx1"/>
                          </a:solidFill>
                          <a:effectLst/>
                        </a:rPr>
                        <a:t>/ </a:t>
                      </a:r>
                      <a:r>
                        <a:rPr lang="de-DE" sz="1600" b="1" dirty="0" err="1" smtClean="0">
                          <a:solidFill>
                            <a:schemeClr val="tx1"/>
                          </a:solidFill>
                          <a:effectLst/>
                        </a:rPr>
                        <a:t>Morpholinomethyl</a:t>
                      </a:r>
                      <a:r>
                        <a:rPr lang="de-DE" sz="1600" b="1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e-DE" sz="1600" b="1" dirty="0" err="1">
                          <a:solidFill>
                            <a:schemeClr val="tx1"/>
                          </a:solidFill>
                          <a:effectLst/>
                        </a:rPr>
                        <a:t>Silsesquioxane</a:t>
                      </a:r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e-DE" sz="1600" b="1" dirty="0" err="1">
                          <a:solidFill>
                            <a:schemeClr val="tx1"/>
                          </a:solidFill>
                          <a:effectLst/>
                        </a:rPr>
                        <a:t>Copolymer</a:t>
                      </a:r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, Trideceth-5, Glycerin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1,43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25922"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</a:rPr>
                        <a:t>A</a:t>
                      </a: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effectLst/>
                        </a:rPr>
                        <a:t>Water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effectLst/>
                        </a:rPr>
                        <a:t>Aqua (DI </a:t>
                      </a:r>
                      <a:r>
                        <a:rPr lang="de-DE" sz="1600" dirty="0" err="1">
                          <a:effectLst/>
                        </a:rPr>
                        <a:t>Water</a:t>
                      </a:r>
                      <a:r>
                        <a:rPr lang="de-DE" sz="1600" dirty="0">
                          <a:effectLst/>
                        </a:rPr>
                        <a:t>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effectLst/>
                        </a:rPr>
                        <a:t>80,91</a:t>
                      </a:r>
                      <a:endParaRPr lang="de-DE" sz="1600" dirty="0"/>
                    </a:p>
                  </a:txBody>
                  <a:tcPr/>
                </a:tc>
              </a:tr>
              <a:tr h="376603"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</a:rPr>
                        <a:t>A</a:t>
                      </a: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de-DE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Euxyl</a:t>
                      </a:r>
                      <a:r>
                        <a:rPr kumimoji="0" 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PE 9010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Phenoxyethano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thylhexylglycerin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effectLst/>
                        </a:rPr>
                        <a:t>0,95</a:t>
                      </a:r>
                      <a:endParaRPr lang="de-DE" sz="1600" dirty="0"/>
                    </a:p>
                  </a:txBody>
                  <a:tcPr/>
                </a:tc>
              </a:tr>
              <a:tr h="376603"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B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BELSIL</a:t>
                      </a:r>
                      <a:r>
                        <a:rPr lang="de-DE" sz="1600" b="1" baseline="30000" dirty="0">
                          <a:solidFill>
                            <a:schemeClr val="tx1"/>
                          </a:solidFill>
                          <a:effectLst/>
                        </a:rPr>
                        <a:t>®</a:t>
                      </a:r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 GB 1020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err="1">
                          <a:solidFill>
                            <a:schemeClr val="tx1"/>
                          </a:solidFill>
                          <a:effectLst/>
                        </a:rPr>
                        <a:t>Dimethicone</a:t>
                      </a:r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de-DE" sz="1600" b="1" dirty="0" err="1">
                          <a:solidFill>
                            <a:schemeClr val="tx1"/>
                          </a:solidFill>
                          <a:effectLst/>
                        </a:rPr>
                        <a:t>Dimethiconol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0,50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25922"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</a:rPr>
                        <a:t>B</a:t>
                      </a: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>
                          <a:effectLst/>
                        </a:rPr>
                        <a:t>BELSIL® DM 1 plus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err="1" smtClean="0">
                          <a:effectLst/>
                        </a:rPr>
                        <a:t>Dimethicon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effectLst/>
                        </a:rPr>
                        <a:t>15,00</a:t>
                      </a:r>
                      <a:endParaRPr lang="de-DE" sz="1600" dirty="0"/>
                    </a:p>
                  </a:txBody>
                  <a:tcPr/>
                </a:tc>
              </a:tr>
              <a:tr h="376603"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</a:rPr>
                        <a:t>B</a:t>
                      </a: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effectLst/>
                        </a:rPr>
                        <a:t>Fragranc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</a:rPr>
                        <a:t>Parfum</a:t>
                      </a: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effectLst/>
                        </a:rPr>
                        <a:t>0,20</a:t>
                      </a:r>
                      <a:endParaRPr lang="de-DE" sz="1600" dirty="0"/>
                    </a:p>
                  </a:txBody>
                  <a:tcPr/>
                </a:tc>
              </a:tr>
              <a:tr h="376603"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</a:rPr>
                        <a:t>B</a:t>
                      </a:r>
                      <a:endParaRPr lang="de-DE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>
                          <a:solidFill>
                            <a:schemeClr val="tx2"/>
                          </a:solidFill>
                          <a:effectLst/>
                        </a:rPr>
                        <a:t>BELSIL® PF 20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>
                          <a:solidFill>
                            <a:schemeClr val="tx2"/>
                          </a:solidFill>
                          <a:effectLst/>
                        </a:rPr>
                        <a:t>PEG/PPG-20/20 </a:t>
                      </a:r>
                      <a:r>
                        <a:rPr lang="de-DE" sz="1600" b="1" dirty="0" err="1" smtClean="0">
                          <a:solidFill>
                            <a:schemeClr val="tx2"/>
                          </a:solidFill>
                          <a:effectLst/>
                        </a:rPr>
                        <a:t>Phenylisopropyl</a:t>
                      </a:r>
                      <a:r>
                        <a:rPr lang="de-DE" sz="1600" b="1" dirty="0" smtClean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de-DE" sz="1600" b="1" dirty="0" err="1" smtClean="0">
                          <a:solidFill>
                            <a:schemeClr val="tx2"/>
                          </a:solidFill>
                          <a:effectLst/>
                        </a:rPr>
                        <a:t>Caprylyl</a:t>
                      </a:r>
                      <a:r>
                        <a:rPr lang="de-DE" sz="1600" b="1" dirty="0" smtClean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de-DE" sz="1600" b="1" dirty="0" err="1" smtClean="0">
                          <a:solidFill>
                            <a:schemeClr val="tx2"/>
                          </a:solidFill>
                          <a:effectLst/>
                        </a:rPr>
                        <a:t>Dimethicone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  <a:effectLst/>
                        </a:rPr>
                        <a:t>1,0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"/>
            <a:r>
              <a:rPr lang="ru-RU" dirty="0" smtClean="0">
                <a:latin typeface="Arial"/>
              </a:rPr>
              <a:t>2-хфазный спрей для лёгкого расчёсывания волос</a:t>
            </a:r>
            <a:endParaRPr lang="de-DE" dirty="0"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88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313131"/>
                </a:solidFill>
                <a:latin typeface="Arial"/>
              </a:rPr>
              <a:t>2-хфазный спрей для лёгкого расчёсывания волос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ru-RU" dirty="0" smtClean="0"/>
              <a:t>Процедура</a:t>
            </a:r>
            <a:endParaRPr lang="de-DE" dirty="0"/>
          </a:p>
          <a:p>
            <a:pPr lvl="1"/>
            <a:r>
              <a:rPr lang="ru-RU" dirty="0" smtClean="0"/>
              <a:t>Отдельно сделать фазу А и фазу В, затем добавить фазу В к фазе А. </a:t>
            </a:r>
            <a:endParaRPr lang="en-US" dirty="0" smtClean="0"/>
          </a:p>
          <a:p>
            <a:r>
              <a:rPr lang="ru-RU" dirty="0" smtClean="0"/>
              <a:t>Эффект</a:t>
            </a:r>
            <a:endParaRPr lang="de-DE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Шелковистые, приятные на ощупь  волосы</a:t>
            </a:r>
            <a:endParaRPr lang="en-US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Блеск</a:t>
            </a:r>
            <a:endParaRPr lang="en-US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Лёгкое расчёсывание</a:t>
            </a:r>
            <a:endParaRPr lang="en-US" dirty="0"/>
          </a:p>
          <a:p>
            <a:pPr lvl="1"/>
            <a:endParaRPr lang="en-US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64" y="1609725"/>
            <a:ext cx="3338624" cy="424095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593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ртфолио силиконов </a:t>
            </a:r>
            <a:r>
              <a:rPr lang="en-US" dirty="0" smtClean="0"/>
              <a:t>WACKER</a:t>
            </a:r>
            <a:r>
              <a:rPr lang="ru-RU" dirty="0" smtClean="0"/>
              <a:t> для придания блеска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3949631" y="4468302"/>
            <a:ext cx="2793600" cy="1868955"/>
          </a:xfrm>
        </p:spPr>
        <p:txBody>
          <a:bodyPr anchor="t"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600" dirty="0" err="1" smtClean="0"/>
              <a:t>INCI:Trimethylsiloxy-phenyl</a:t>
            </a:r>
            <a:r>
              <a:rPr lang="en-US" sz="1600" dirty="0" smtClean="0"/>
              <a:t> </a:t>
            </a:r>
            <a:r>
              <a:rPr lang="en-US" sz="1600" dirty="0" err="1" smtClean="0"/>
              <a:t>Dimethicone</a:t>
            </a:r>
            <a:endParaRPr lang="en-US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US" sz="16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 smtClean="0"/>
              <a:t>Viscosity: ~ 20 </a:t>
            </a:r>
            <a:r>
              <a:rPr lang="en-US" sz="1600" dirty="0" err="1" smtClean="0"/>
              <a:t>mPa.s</a:t>
            </a:r>
            <a:endParaRPr lang="en-US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US" sz="16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 smtClean="0"/>
              <a:t>R.I.: ~ 1.44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600" dirty="0" smtClean="0"/>
          </a:p>
        </p:txBody>
      </p:sp>
      <p:graphicFrame>
        <p:nvGraphicFramePr>
          <p:cNvPr id="9" name="Content Placeholder 8"/>
          <p:cNvGraphicFramePr>
            <a:graphicFrameLocks noGrp="1" noChangeAspect="1"/>
          </p:cNvGraphicFramePr>
          <p:nvPr>
            <p:ph sz="quarter" idx="22"/>
            <p:extLst>
              <p:ext uri="{D42A27DB-BD31-4B8C-83A1-F6EECF244321}">
                <p14:modId xmlns:p14="http://schemas.microsoft.com/office/powerpoint/2010/main" val="2807104242"/>
              </p:ext>
            </p:extLst>
          </p:nvPr>
        </p:nvGraphicFramePr>
        <p:xfrm>
          <a:off x="3689191" y="2285503"/>
          <a:ext cx="3358951" cy="19955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2" name="CS ChemDraw Drawing" r:id="rId3" imgW="4045950" imgH="2402726" progId="ChemDraw.Document.6.0">
                  <p:embed/>
                </p:oleObj>
              </mc:Choice>
              <mc:Fallback>
                <p:oleObj name="CS ChemDraw Drawing" r:id="rId3" imgW="4045950" imgH="2402726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89191" y="2285503"/>
                        <a:ext cx="3358951" cy="199551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 bwMode="gray">
          <a:xfrm>
            <a:off x="4025962" y="1581737"/>
            <a:ext cx="2281186" cy="356135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dirty="0" smtClean="0">
                <a:solidFill>
                  <a:srgbClr val="313131"/>
                </a:solidFill>
              </a:rPr>
              <a:t>BELSIL</a:t>
            </a:r>
            <a:r>
              <a:rPr lang="en-US" baseline="30000" dirty="0" smtClean="0">
                <a:solidFill>
                  <a:srgbClr val="313131"/>
                </a:solidFill>
              </a:rPr>
              <a:t>®</a:t>
            </a:r>
            <a:r>
              <a:rPr lang="en-US" dirty="0" smtClean="0">
                <a:solidFill>
                  <a:srgbClr val="313131"/>
                </a:solidFill>
              </a:rPr>
              <a:t> PDM 20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27"/>
          </p:nvPr>
        </p:nvSpPr>
        <p:spPr>
          <a:xfrm>
            <a:off x="736121" y="4468302"/>
            <a:ext cx="2793600" cy="1868955"/>
          </a:xfrm>
        </p:spPr>
        <p:txBody>
          <a:bodyPr anchor="t"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600" dirty="0" smtClean="0"/>
              <a:t>INCI</a:t>
            </a:r>
            <a:r>
              <a:rPr lang="en-US" sz="1600" dirty="0"/>
              <a:t>: PEG/PPG-20/20 </a:t>
            </a:r>
            <a:r>
              <a:rPr lang="en-US" sz="1600" dirty="0" err="1"/>
              <a:t>Phenylisopropyl</a:t>
            </a:r>
            <a:r>
              <a:rPr lang="en-US" sz="1600" dirty="0"/>
              <a:t> </a:t>
            </a:r>
            <a:r>
              <a:rPr lang="en-US" sz="1600" dirty="0" err="1"/>
              <a:t>Caprylyl</a:t>
            </a:r>
            <a:r>
              <a:rPr lang="en-US" sz="1600" dirty="0"/>
              <a:t> </a:t>
            </a:r>
            <a:r>
              <a:rPr lang="en-US" sz="1600" dirty="0" err="1" smtClean="0"/>
              <a:t>Dimethicone</a:t>
            </a:r>
            <a:endParaRPr lang="en-US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US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/>
              <a:t>Viscosity: ~ 450 </a:t>
            </a:r>
            <a:r>
              <a:rPr lang="en-US" sz="1600" dirty="0" err="1" smtClean="0"/>
              <a:t>mPa.s</a:t>
            </a:r>
            <a:endParaRPr lang="en-US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US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/>
              <a:t>R.I.: ~</a:t>
            </a:r>
            <a:r>
              <a:rPr lang="en-US" sz="1600" dirty="0" smtClean="0"/>
              <a:t>1.46</a:t>
            </a:r>
            <a:endParaRPr lang="en-US" sz="1600" dirty="0"/>
          </a:p>
        </p:txBody>
      </p:sp>
      <p:graphicFrame>
        <p:nvGraphicFramePr>
          <p:cNvPr id="17" name="Content Placeholder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8818382"/>
              </p:ext>
            </p:extLst>
          </p:nvPr>
        </p:nvGraphicFramePr>
        <p:xfrm>
          <a:off x="738014" y="2126810"/>
          <a:ext cx="2792412" cy="2068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3" name="CS ChemDraw Drawing" r:id="rId5" imgW="3907170" imgH="2893623" progId="ChemDraw.Document.6.0">
                  <p:embed/>
                </p:oleObj>
              </mc:Choice>
              <mc:Fallback>
                <p:oleObj name="CS ChemDraw Drawing" r:id="rId5" imgW="3907170" imgH="2893623" progId="ChemDraw.Document.6.0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8014" y="2126810"/>
                        <a:ext cx="2792412" cy="2068513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 bwMode="gray">
          <a:xfrm>
            <a:off x="642366" y="1581737"/>
            <a:ext cx="2615863" cy="457200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dirty="0" smtClean="0">
                <a:solidFill>
                  <a:srgbClr val="313131"/>
                </a:solidFill>
              </a:rPr>
              <a:t>BELSIL</a:t>
            </a:r>
            <a:r>
              <a:rPr lang="en-US" baseline="30000" dirty="0" smtClean="0">
                <a:solidFill>
                  <a:srgbClr val="313131"/>
                </a:solidFill>
              </a:rPr>
              <a:t>®</a:t>
            </a:r>
            <a:r>
              <a:rPr lang="en-US" dirty="0" smtClean="0">
                <a:solidFill>
                  <a:srgbClr val="313131"/>
                </a:solidFill>
              </a:rPr>
              <a:t> PF 200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231542" y="4468302"/>
            <a:ext cx="2793600" cy="1868955"/>
          </a:xfrm>
        </p:spPr>
        <p:txBody>
          <a:bodyPr anchor="t"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600" dirty="0"/>
              <a:t>INCI: </a:t>
            </a:r>
            <a:r>
              <a:rPr lang="en-US" sz="1600" dirty="0" err="1" smtClean="0"/>
              <a:t>Phenyltrimethicone</a:t>
            </a:r>
            <a:endParaRPr lang="en-US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US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/>
              <a:t>Viscosity: ~ 22 </a:t>
            </a:r>
            <a:r>
              <a:rPr lang="en-US" sz="1600" dirty="0" err="1" smtClean="0"/>
              <a:t>mPa.s</a:t>
            </a:r>
            <a:endParaRPr lang="en-US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US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/>
              <a:t>R.I.: ~ 1.46</a:t>
            </a:r>
          </a:p>
          <a:p>
            <a:pPr marL="0" indent="0">
              <a:buNone/>
            </a:pPr>
            <a:endParaRPr lang="en-US" sz="1600" dirty="0"/>
          </a:p>
        </p:txBody>
      </p:sp>
      <p:graphicFrame>
        <p:nvGraphicFramePr>
          <p:cNvPr id="22" name="Content Placeholder 7"/>
          <p:cNvGraphicFramePr>
            <a:graphicFrameLocks noGrp="1" noChangeAspect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2325863765"/>
              </p:ext>
            </p:extLst>
          </p:nvPr>
        </p:nvGraphicFramePr>
        <p:xfrm>
          <a:off x="7231542" y="2285503"/>
          <a:ext cx="2794000" cy="1887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4" name="CS ChemDraw Drawing" r:id="rId7" imgW="2954635" imgH="1996074" progId="ChemDraw.Document.6.0">
                  <p:embed/>
                </p:oleObj>
              </mc:Choice>
              <mc:Fallback>
                <p:oleObj name="CS ChemDraw Drawing" r:id="rId7" imgW="2954635" imgH="1996074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31542" y="2285503"/>
                        <a:ext cx="2794000" cy="1887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algn="ctr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/>
          <p:cNvSpPr/>
          <p:nvPr/>
        </p:nvSpPr>
        <p:spPr>
          <a:xfrm>
            <a:off x="7099338" y="1581737"/>
            <a:ext cx="31434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313131"/>
                </a:solidFill>
              </a:rPr>
              <a:t>BELSIL</a:t>
            </a:r>
            <a:r>
              <a:rPr lang="en-US" baseline="30000" dirty="0">
                <a:solidFill>
                  <a:srgbClr val="313131"/>
                </a:solidFill>
              </a:rPr>
              <a:t>®</a:t>
            </a:r>
            <a:r>
              <a:rPr lang="en-US" dirty="0">
                <a:solidFill>
                  <a:srgbClr val="313131"/>
                </a:solidFill>
              </a:rPr>
              <a:t> </a:t>
            </a:r>
            <a:r>
              <a:rPr lang="en-US" dirty="0" smtClean="0">
                <a:solidFill>
                  <a:srgbClr val="313131"/>
                </a:solidFill>
              </a:rPr>
              <a:t>PF 22 </a:t>
            </a:r>
            <a:r>
              <a:rPr lang="ru-RU" baseline="30000" dirty="0" smtClean="0">
                <a:solidFill>
                  <a:srgbClr val="313131"/>
                </a:solidFill>
              </a:rPr>
              <a:t>запуск</a:t>
            </a:r>
            <a:r>
              <a:rPr lang="ru-RU" dirty="0" smtClean="0">
                <a:solidFill>
                  <a:srgbClr val="313131"/>
                </a:solidFill>
              </a:rPr>
              <a:t> </a:t>
            </a:r>
            <a:r>
              <a:rPr lang="ru-RU" baseline="30000" dirty="0" smtClean="0">
                <a:solidFill>
                  <a:srgbClr val="313131"/>
                </a:solidFill>
              </a:rPr>
              <a:t>в 201</a:t>
            </a:r>
            <a:r>
              <a:rPr lang="en-US" baseline="30000" dirty="0" smtClean="0">
                <a:solidFill>
                  <a:srgbClr val="313131"/>
                </a:solidFill>
              </a:rPr>
              <a:t>7</a:t>
            </a:r>
            <a:endParaRPr lang="en-US" baseline="30000" dirty="0">
              <a:solidFill>
                <a:srgbClr val="31313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73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Inhaltsplatzhalter 9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4023726197"/>
              </p:ext>
            </p:extLst>
          </p:nvPr>
        </p:nvGraphicFramePr>
        <p:xfrm>
          <a:off x="652461" y="1245538"/>
          <a:ext cx="9388802" cy="540667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926082"/>
                <a:gridCol w="2530319"/>
                <a:gridCol w="4655128"/>
                <a:gridCol w="1277273"/>
              </a:tblGrid>
              <a:tr h="571789">
                <a:tc>
                  <a:txBody>
                    <a:bodyPr/>
                    <a:lstStyle/>
                    <a:p>
                      <a:r>
                        <a:rPr kumimoji="0" lang="de-DE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Phase</a:t>
                      </a:r>
                      <a:endParaRPr kumimoji="0" lang="de-DE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Trade </a:t>
                      </a:r>
                      <a:r>
                        <a:rPr kumimoji="0" lang="de-DE" sz="1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INCI </a:t>
                      </a:r>
                      <a:r>
                        <a:rPr lang="de-DE" sz="1800" b="1" dirty="0" err="1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name</a:t>
                      </a:r>
                      <a:endParaRPr lang="de-DE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Conc</a:t>
                      </a:r>
                      <a:r>
                        <a:rPr lang="de-DE" sz="1800" b="1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. (%)</a:t>
                      </a:r>
                    </a:p>
                    <a:p>
                      <a:pPr marL="0" marR="0" indent="0" algn="ctr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HM_01CK16</a:t>
                      </a:r>
                      <a:r>
                        <a:rPr lang="de-DE" sz="1100" b="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 </a:t>
                      </a:r>
                      <a:endParaRPr lang="de-DE" sz="700" b="0" i="0" u="none" strike="noStrike" dirty="0" smtClean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Cremophor</a:t>
                      </a:r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 RH 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G-40 Hydrogenated Castor Oi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50</a:t>
                      </a:r>
                    </a:p>
                  </a:txBody>
                  <a:tcPr marL="9525" marR="9525" marT="9525" marB="0" anchor="ctr"/>
                </a:tc>
              </a:tr>
              <a:tr h="38684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 smtClean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Natrosol</a:t>
                      </a:r>
                      <a:r>
                        <a:rPr lang="de-DE" sz="1400" b="1" i="0" u="none" strike="noStrike" dirty="0" smtClean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 250 HHR</a:t>
                      </a:r>
                      <a:endParaRPr lang="de-DE" sz="1400" b="1" i="0" u="none" strike="noStrike" dirty="0">
                        <a:solidFill>
                          <a:srgbClr val="436597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ydroxyethylcellulos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50</a:t>
                      </a:r>
                    </a:p>
                  </a:txBody>
                  <a:tcPr marL="9525" marR="9525" marT="9525" marB="0" anchor="ctr"/>
                </a:tc>
              </a:tr>
              <a:tr h="35883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Water</a:t>
                      </a:r>
                      <a:endParaRPr lang="de-DE" sz="1400" b="1" i="0" u="none" strike="noStrike" dirty="0">
                        <a:solidFill>
                          <a:srgbClr val="436597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qua (DI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ater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6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Cetylalkohol</a:t>
                      </a:r>
                      <a:endParaRPr lang="de-DE" sz="1400" b="1" i="0" u="none" strike="noStrike" dirty="0">
                        <a:solidFill>
                          <a:srgbClr val="436597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tyl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lcoho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50</a:t>
                      </a: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Genamin</a:t>
                      </a:r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 KDM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hentrimonium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Chlorid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00</a:t>
                      </a:r>
                    </a:p>
                  </a:txBody>
                  <a:tcPr marL="9525" marR="9525" marT="9525" marB="0" anchor="ctr"/>
                </a:tc>
              </a:tr>
              <a:tr h="35883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9569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romine</a:t>
                      </a:r>
                      <a:r>
                        <a:rPr lang="de-DE" sz="1400" b="1" i="0" u="none" strike="noStrike" kern="1200" baseline="30000" dirty="0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</a:t>
                      </a:r>
                      <a:r>
                        <a:rPr lang="de-DE" sz="1400" b="1" i="0" u="none" strike="noStrike" kern="1200" dirty="0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D-PA-(MH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aramidopropyl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methylamine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joba</a:t>
                      </a:r>
                      <a:r>
                        <a:rPr lang="de-DE" sz="1400" b="1" i="0" u="none" strike="noStrike" kern="1200" dirty="0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il</a:t>
                      </a:r>
                      <a:r>
                        <a:rPr lang="de-DE" sz="1400" b="1" i="0" u="none" strike="noStrike" kern="1200" dirty="0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rless</a:t>
                      </a:r>
                      <a:endParaRPr lang="de-DE" sz="1400" b="1" i="0" u="none" strike="noStrike" kern="1200" dirty="0">
                        <a:solidFill>
                          <a:srgbClr val="43659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mondsia</a:t>
                      </a: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nensis</a:t>
                      </a: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Jojoba) Seed Oil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5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arylalkohol</a:t>
                      </a:r>
                      <a:endParaRPr lang="de-DE" sz="1400" b="1" i="0" u="none" strike="noStrike" kern="1200" dirty="0">
                        <a:solidFill>
                          <a:srgbClr val="43659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aryl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cohol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tric</a:t>
                      </a:r>
                      <a:r>
                        <a:rPr lang="de-DE" sz="1400" b="1" i="0" u="none" strike="noStrike" kern="1200" dirty="0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id</a:t>
                      </a:r>
                      <a:endParaRPr lang="de-DE" sz="1400" b="1" i="0" u="none" strike="noStrike" kern="1200" dirty="0">
                        <a:solidFill>
                          <a:srgbClr val="43659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tric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id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2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calol</a:t>
                      </a:r>
                      <a:r>
                        <a:rPr lang="de-DE" sz="1400" b="1" i="0" u="none" strike="noStrike" kern="1200" dirty="0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57</a:t>
                      </a:r>
                      <a:endParaRPr lang="de-DE" sz="1400" b="1" i="0" u="none" strike="noStrike" kern="1200" dirty="0">
                        <a:solidFill>
                          <a:srgbClr val="43659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hylhexyl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hoxycinnamate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kern="1200" dirty="0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pe </a:t>
                      </a:r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ed</a:t>
                      </a:r>
                      <a:r>
                        <a:rPr lang="de-DE" sz="1400" b="1" i="0" u="none" strike="noStrike" kern="1200" dirty="0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il</a:t>
                      </a:r>
                      <a:endParaRPr lang="de-DE" sz="1400" b="1" i="0" u="none" strike="noStrike" kern="1200" dirty="0">
                        <a:solidFill>
                          <a:srgbClr val="43659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tis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nifera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Grape)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ed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il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1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kern="1200" dirty="0" err="1" smtClean="0">
                          <a:solidFill>
                            <a:srgbClr val="43659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thenol</a:t>
                      </a:r>
                      <a:endParaRPr lang="de-DE" sz="1400" b="1" i="0" u="none" strike="noStrike" kern="1200" dirty="0">
                        <a:solidFill>
                          <a:srgbClr val="43659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thenol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10</a:t>
                      </a: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kern="1200" dirty="0" smtClean="0">
                          <a:solidFill>
                            <a:srgbClr val="A33B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LSIL</a:t>
                      </a:r>
                      <a:r>
                        <a:rPr lang="de-DE" sz="1400" b="1" i="0" u="none" strike="noStrike" kern="1200" baseline="30000" dirty="0" smtClean="0">
                          <a:solidFill>
                            <a:srgbClr val="A33B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</a:t>
                      </a:r>
                      <a:r>
                        <a:rPr lang="de-DE" sz="1400" b="1" i="0" u="none" strike="noStrike" kern="1200" dirty="0" smtClean="0">
                          <a:solidFill>
                            <a:srgbClr val="A33B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ADM 6300 E</a:t>
                      </a:r>
                      <a:endParaRPr lang="de-DE" sz="1400" b="1" i="0" u="none" strike="noStrike" kern="1200" dirty="0">
                        <a:solidFill>
                          <a:srgbClr val="A33B3B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kern="1200" dirty="0" err="1" smtClean="0">
                          <a:solidFill>
                            <a:srgbClr val="A33B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odimethicone</a:t>
                      </a:r>
                      <a:r>
                        <a:rPr lang="de-DE" sz="1400" b="1" i="0" u="none" strike="noStrike" kern="1200" dirty="0" smtClean="0">
                          <a:solidFill>
                            <a:srgbClr val="A33B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de-DE" sz="1400" b="1" i="0" u="none" strike="noStrike" kern="1200" dirty="0" err="1" smtClean="0">
                          <a:solidFill>
                            <a:srgbClr val="A33B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rpholinomethyl</a:t>
                      </a:r>
                      <a:r>
                        <a:rPr lang="de-DE" sz="1400" b="1" i="0" u="none" strike="noStrike" kern="1200" dirty="0" smtClean="0">
                          <a:solidFill>
                            <a:srgbClr val="A33B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i="0" u="none" strike="noStrike" kern="1200" dirty="0" err="1" smtClean="0">
                          <a:solidFill>
                            <a:srgbClr val="A33B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lsesquioxane</a:t>
                      </a:r>
                      <a:r>
                        <a:rPr lang="de-DE" sz="1400" b="1" i="0" u="none" strike="noStrike" kern="1200" dirty="0" smtClean="0">
                          <a:solidFill>
                            <a:srgbClr val="A33B3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Trideceth-10</a:t>
                      </a:r>
                      <a:endParaRPr lang="de-DE" sz="1400" b="1" i="0" u="none" strike="noStrike" kern="1200" dirty="0">
                        <a:solidFill>
                          <a:srgbClr val="A33B3B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2,86</a:t>
                      </a:r>
                    </a:p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(1% </a:t>
                      </a:r>
                      <a:r>
                        <a:rPr lang="de-DE" sz="1400" b="1" i="0" u="none" strike="noStrike" dirty="0" err="1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active</a:t>
                      </a:r>
                      <a:r>
                        <a:rPr lang="de-DE" sz="1400" b="1" i="0" u="none" strike="noStrike" dirty="0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de-DE" sz="1400" b="1" i="0" u="none" strike="noStrike" dirty="0">
                        <a:solidFill>
                          <a:srgbClr val="A33B3B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467642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BELSIL</a:t>
                      </a:r>
                      <a:r>
                        <a:rPr lang="de-DE" sz="1400" b="1" i="0" u="none" strike="noStrike" baseline="30000" dirty="0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®</a:t>
                      </a:r>
                      <a:r>
                        <a:rPr lang="de-DE" sz="1400" b="1" i="0" u="none" strike="noStrike" dirty="0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  PF</a:t>
                      </a:r>
                      <a:r>
                        <a:rPr lang="de-DE" sz="1400" b="1" i="0" u="none" strike="noStrike" baseline="0" dirty="0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 200 </a:t>
                      </a:r>
                      <a:r>
                        <a:rPr lang="de-DE" sz="1400" b="1" i="0" u="none" strike="noStrike" baseline="30000" dirty="0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NEW</a:t>
                      </a:r>
                      <a:endParaRPr lang="de-DE" sz="1400" b="1" i="0" u="none" strike="noStrike" dirty="0">
                        <a:solidFill>
                          <a:srgbClr val="A33B3B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 smtClean="0">
                          <a:solidFill>
                            <a:srgbClr val="A33B3B"/>
                          </a:solidFill>
                          <a:effectLst/>
                          <a:latin typeface="+mn-lt"/>
                        </a:rPr>
                        <a:t>PEG/PPG-20/20 </a:t>
                      </a:r>
                      <a:r>
                        <a:rPr lang="de-DE" sz="1400" b="1" i="0" u="none" strike="noStrike" dirty="0" err="1" smtClean="0">
                          <a:solidFill>
                            <a:srgbClr val="A33B3B"/>
                          </a:solidFill>
                          <a:effectLst/>
                          <a:latin typeface="+mn-lt"/>
                        </a:rPr>
                        <a:t>Phenylisopropyl</a:t>
                      </a:r>
                      <a:r>
                        <a:rPr lang="de-DE" sz="1400" b="1" i="0" u="none" strike="noStrike" dirty="0" smtClean="0">
                          <a:solidFill>
                            <a:srgbClr val="A33B3B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err="1" smtClean="0">
                          <a:solidFill>
                            <a:srgbClr val="A33B3B"/>
                          </a:solidFill>
                          <a:effectLst/>
                          <a:latin typeface="+mn-lt"/>
                        </a:rPr>
                        <a:t>Caprylyl</a:t>
                      </a:r>
                      <a:r>
                        <a:rPr lang="de-DE" sz="1400" b="1" i="0" u="none" strike="noStrike" dirty="0" smtClean="0">
                          <a:solidFill>
                            <a:srgbClr val="A33B3B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err="1" smtClean="0">
                          <a:solidFill>
                            <a:srgbClr val="A33B3B"/>
                          </a:solidFill>
                          <a:effectLst/>
                          <a:latin typeface="+mn-lt"/>
                        </a:rPr>
                        <a:t>Dimethicone</a:t>
                      </a:r>
                      <a:endParaRPr lang="de-DE" sz="1400" b="1" i="0" u="none" strike="noStrike" dirty="0">
                        <a:solidFill>
                          <a:srgbClr val="A33B3B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A33B3B"/>
                          </a:solidFill>
                          <a:effectLst/>
                          <a:latin typeface="+mj-lt"/>
                        </a:rPr>
                        <a:t>1,00</a:t>
                      </a:r>
                      <a:endParaRPr lang="de-DE" sz="1400" b="1" i="0" u="none" strike="noStrike" dirty="0">
                        <a:solidFill>
                          <a:srgbClr val="A33B3B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Fragrance</a:t>
                      </a:r>
                      <a:endParaRPr lang="de-DE" sz="1400" b="1" i="0" u="none" strike="noStrike" dirty="0">
                        <a:solidFill>
                          <a:srgbClr val="436597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fu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05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5695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>
                          <a:solidFill>
                            <a:srgbClr val="436597"/>
                          </a:solidFill>
                          <a:effectLst/>
                          <a:latin typeface="+mj-lt"/>
                        </a:rPr>
                        <a:t>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de-DE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36597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rvative</a:t>
                      </a:r>
                      <a:endParaRPr lang="de-DE" sz="1400" b="1" i="0" u="none" strike="noStrike" dirty="0">
                        <a:solidFill>
                          <a:srgbClr val="436597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henoxyethanol</a:t>
                      </a:r>
                      <a:r>
                        <a:rPr lang="de-DE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de-DE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thylhexylglycerin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Защитная маска с эффектом сияния волос</a:t>
            </a:r>
            <a:endParaRPr lang="de-DE" dirty="0"/>
          </a:p>
        </p:txBody>
      </p:sp>
      <p:sp>
        <p:nvSpPr>
          <p:cNvPr id="4" name="Rectangle 3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65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LSIL</a:t>
            </a:r>
            <a:r>
              <a:rPr lang="de-DE" baseline="30000" dirty="0"/>
              <a:t>®</a:t>
            </a:r>
            <a:r>
              <a:rPr lang="de-DE" dirty="0"/>
              <a:t> ADM 8301 E </a:t>
            </a:r>
            <a:r>
              <a:rPr lang="ru-RU" dirty="0" smtClean="0"/>
              <a:t>для стойкости цвета и </a:t>
            </a:r>
            <a:r>
              <a:rPr lang="ru-RU" dirty="0" err="1" smtClean="0"/>
              <a:t>термозащиты</a:t>
            </a:r>
            <a:endParaRPr lang="en-US" sz="1400" dirty="0"/>
          </a:p>
        </p:txBody>
      </p:sp>
      <p:sp>
        <p:nvSpPr>
          <p:cNvPr id="3" name="Rectangle 2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173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8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>
                <a:solidFill>
                  <a:srgbClr val="313131"/>
                </a:solidFill>
              </a:rPr>
              <a:t>BELSIL</a:t>
            </a:r>
            <a:r>
              <a:rPr lang="en-US" baseline="30000" dirty="0">
                <a:solidFill>
                  <a:srgbClr val="313131"/>
                </a:solidFill>
              </a:rPr>
              <a:t>®</a:t>
            </a:r>
            <a:r>
              <a:rPr lang="en-US" dirty="0">
                <a:solidFill>
                  <a:srgbClr val="313131"/>
                </a:solidFill>
              </a:rPr>
              <a:t> ADM 8301 E – </a:t>
            </a:r>
            <a:br>
              <a:rPr lang="en-US" dirty="0">
                <a:solidFill>
                  <a:srgbClr val="313131"/>
                </a:solidFill>
              </a:rPr>
            </a:br>
            <a:r>
              <a:rPr lang="ru-RU" dirty="0" err="1">
                <a:solidFill>
                  <a:srgbClr val="313131"/>
                </a:solidFill>
              </a:rPr>
              <a:t>неиногенная</a:t>
            </a:r>
            <a:r>
              <a:rPr lang="ru-RU" dirty="0">
                <a:solidFill>
                  <a:srgbClr val="313131"/>
                </a:solidFill>
              </a:rPr>
              <a:t> </a:t>
            </a:r>
            <a:r>
              <a:rPr lang="ru-RU" dirty="0" err="1">
                <a:solidFill>
                  <a:srgbClr val="313131"/>
                </a:solidFill>
              </a:rPr>
              <a:t>аминофункциональная</a:t>
            </a:r>
            <a:r>
              <a:rPr lang="ru-RU" dirty="0">
                <a:solidFill>
                  <a:srgbClr val="313131"/>
                </a:solidFill>
              </a:rPr>
              <a:t> </a:t>
            </a:r>
            <a:r>
              <a:rPr lang="ru-RU" dirty="0" err="1">
                <a:solidFill>
                  <a:srgbClr val="313131"/>
                </a:solidFill>
              </a:rPr>
              <a:t>микроэмульсия</a:t>
            </a:r>
            <a:endParaRPr lang="en-US" dirty="0" smtClean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9"/>
          </p:nvPr>
        </p:nvSpPr>
        <p:spPr bwMode="gray">
          <a:xfrm>
            <a:off x="3667224" y="1543050"/>
            <a:ext cx="6373176" cy="1565910"/>
          </a:xfrm>
        </p:spPr>
        <p:txBody>
          <a:bodyPr/>
          <a:lstStyle/>
          <a:p>
            <a:pPr lvl="0"/>
            <a:r>
              <a:rPr lang="ru-RU" dirty="0">
                <a:solidFill>
                  <a:srgbClr val="436597"/>
                </a:solidFill>
              </a:rPr>
              <a:t>Описание продукта</a:t>
            </a:r>
            <a:r>
              <a:rPr lang="en-US" dirty="0">
                <a:solidFill>
                  <a:srgbClr val="436597"/>
                </a:solidFill>
              </a:rPr>
              <a:t>:</a:t>
            </a:r>
          </a:p>
          <a:p>
            <a:pPr lvl="0"/>
            <a:r>
              <a:rPr lang="en-US" b="0" dirty="0">
                <a:solidFill>
                  <a:srgbClr val="313131"/>
                </a:solidFill>
              </a:rPr>
              <a:t>BELSIL</a:t>
            </a:r>
            <a:r>
              <a:rPr lang="en-US" b="0" baseline="30000" dirty="0">
                <a:solidFill>
                  <a:srgbClr val="313131"/>
                </a:solidFill>
              </a:rPr>
              <a:t>®</a:t>
            </a:r>
            <a:r>
              <a:rPr lang="en-US" b="0" dirty="0">
                <a:solidFill>
                  <a:srgbClr val="313131"/>
                </a:solidFill>
              </a:rPr>
              <a:t> ADM 8301 E </a:t>
            </a:r>
            <a:r>
              <a:rPr lang="ru-RU" b="0" dirty="0">
                <a:solidFill>
                  <a:srgbClr val="313131"/>
                </a:solidFill>
              </a:rPr>
              <a:t>– это плёнкообразующая неионогенная </a:t>
            </a:r>
            <a:r>
              <a:rPr lang="ru-RU" b="0" dirty="0" err="1">
                <a:solidFill>
                  <a:srgbClr val="313131"/>
                </a:solidFill>
              </a:rPr>
              <a:t>микроэмульсия</a:t>
            </a:r>
            <a:r>
              <a:rPr lang="ru-RU" b="0" dirty="0">
                <a:solidFill>
                  <a:srgbClr val="313131"/>
                </a:solidFill>
              </a:rPr>
              <a:t> </a:t>
            </a:r>
            <a:r>
              <a:rPr lang="ru-RU" b="0" dirty="0" err="1">
                <a:solidFill>
                  <a:srgbClr val="313131"/>
                </a:solidFill>
              </a:rPr>
              <a:t>аминофункциональ-ного</a:t>
            </a:r>
            <a:r>
              <a:rPr lang="ru-RU" b="0" dirty="0">
                <a:solidFill>
                  <a:srgbClr val="313131"/>
                </a:solidFill>
              </a:rPr>
              <a:t> силикона для сильно повреждённых  окрашенных волос</a:t>
            </a:r>
            <a:r>
              <a:rPr lang="en-US" b="0" dirty="0">
                <a:solidFill>
                  <a:srgbClr val="313131"/>
                </a:solidFill>
              </a:rPr>
              <a:t>.</a:t>
            </a:r>
          </a:p>
          <a:p>
            <a:pPr lvl="0"/>
            <a:r>
              <a:rPr lang="ru-RU" dirty="0">
                <a:solidFill>
                  <a:srgbClr val="436597"/>
                </a:solidFill>
              </a:rPr>
              <a:t>Характеристики</a:t>
            </a:r>
            <a:r>
              <a:rPr lang="en-US" dirty="0">
                <a:solidFill>
                  <a:srgbClr val="436597"/>
                </a:solidFill>
              </a:rPr>
              <a:t>:</a:t>
            </a:r>
            <a:endParaRPr lang="en-US" b="0" dirty="0">
              <a:solidFill>
                <a:srgbClr val="313131"/>
              </a:solidFill>
            </a:endParaRPr>
          </a:p>
          <a:p>
            <a:endParaRPr lang="en-US" b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009351"/>
            <a:ext cx="9390062" cy="760959"/>
          </a:xfrm>
        </p:spPr>
        <p:txBody>
          <a:bodyPr/>
          <a:lstStyle/>
          <a:p>
            <a:r>
              <a:rPr lang="en-US" dirty="0" smtClean="0"/>
              <a:t>INCI: </a:t>
            </a:r>
            <a:r>
              <a:rPr lang="de-DE" dirty="0" err="1"/>
              <a:t>Amodimethicone</a:t>
            </a:r>
            <a:r>
              <a:rPr lang="de-DE" dirty="0"/>
              <a:t>/</a:t>
            </a:r>
            <a:r>
              <a:rPr lang="de-DE" dirty="0" err="1"/>
              <a:t>Morpholinomethyl</a:t>
            </a:r>
            <a:r>
              <a:rPr lang="de-DE" dirty="0"/>
              <a:t> </a:t>
            </a:r>
            <a:r>
              <a:rPr lang="de-DE" dirty="0" err="1"/>
              <a:t>Silsesquioxane</a:t>
            </a:r>
            <a:r>
              <a:rPr lang="de-DE" dirty="0"/>
              <a:t> </a:t>
            </a:r>
            <a:r>
              <a:rPr lang="de-DE" dirty="0" err="1"/>
              <a:t>Copolymer</a:t>
            </a:r>
            <a:r>
              <a:rPr lang="de-DE" dirty="0"/>
              <a:t>, Trideceth-5, Glycerin</a:t>
            </a:r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 bwMode="gray">
          <a:xfrm>
            <a:off x="3443028" y="1610414"/>
            <a:ext cx="0" cy="368771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64231"/>
              </p:ext>
            </p:extLst>
          </p:nvPr>
        </p:nvGraphicFramePr>
        <p:xfrm>
          <a:off x="3611880" y="3788481"/>
          <a:ext cx="6428520" cy="2011680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1324210"/>
                <a:gridCol w="1289363"/>
                <a:gridCol w="1800461"/>
                <a:gridCol w="2014486"/>
              </a:tblGrid>
              <a:tr h="930846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Сод.</a:t>
                      </a:r>
                      <a:r>
                        <a:rPr lang="ru-RU" sz="1800" b="1" baseline="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 акт. в-</a:t>
                      </a:r>
                      <a:r>
                        <a:rPr lang="ru-RU" sz="1800" b="1" baseline="0" dirty="0" err="1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ва</a:t>
                      </a:r>
                      <a:r>
                        <a:rPr lang="ru-RU" sz="1800" b="1" baseline="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 </a:t>
                      </a:r>
                      <a:r>
                        <a:rPr lang="en-US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%]</a:t>
                      </a: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Размер</a:t>
                      </a:r>
                      <a:r>
                        <a:rPr lang="ru-RU" sz="1800" b="1" kern="1200" baseline="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 частиц</a:t>
                      </a:r>
                      <a:endParaRPr lang="de-DE" sz="1800" b="1" kern="1200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</a:t>
                      </a:r>
                      <a:r>
                        <a:rPr lang="de-DE" sz="1800" b="1" kern="1200" dirty="0" err="1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nm</a:t>
                      </a:r>
                      <a:r>
                        <a:rPr lang="de-DE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]</a:t>
                      </a:r>
                      <a:endParaRPr lang="en-US" sz="1800" b="1" kern="1200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Эмульгатор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Внешний</a:t>
                      </a:r>
                      <a:r>
                        <a:rPr lang="ru-RU" sz="1800" b="1" baseline="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 вид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30846">
                <a:tc>
                  <a:txBody>
                    <a:bodyPr/>
                    <a:lstStyle/>
                    <a:p>
                      <a:pPr algn="l"/>
                      <a:r>
                        <a:rPr lang="de-DE" sz="1800" b="0" cap="none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20</a:t>
                      </a:r>
                      <a:endParaRPr sz="1800" b="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587" lvl="1" indent="0" algn="l" defTabSz="914400" rtl="0" eaLnBrk="1" fontAlgn="t" latinLnBrk="0" hangingPunct="1">
                        <a:buClr>
                          <a:schemeClr val="tx1"/>
                        </a:buClr>
                        <a:buFontTx/>
                        <a:buNone/>
                      </a:pPr>
                      <a:r>
                        <a:rPr lang="de-DE" sz="18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&lt; 50</a:t>
                      </a:r>
                      <a:endParaRPr lang="en-US" sz="1800" kern="1200" dirty="0" smtClean="0">
                        <a:solidFill>
                          <a:schemeClr val="tx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800" dirty="0" smtClean="0"/>
                        <a:t>Trideceth-5</a:t>
                      </a:r>
                      <a:endParaRPr lang="en-US" sz="180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/>
                        <a:t>Почти прозрачная</a:t>
                      </a:r>
                      <a:r>
                        <a:rPr lang="ru-RU" sz="1800" baseline="0" dirty="0" smtClean="0"/>
                        <a:t> эмульсия</a:t>
                      </a:r>
                      <a:endParaRPr lang="en-US" sz="180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7170" name="Picture 2" descr="N:\GB-S\S-P\BGH\TEAMS\S-P-PD\MS-CONSUMER-CARE-1-2\Medien\Bilder\Produktfotos\20140224z080_BELSIL_ADM_8301_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00" y="1609725"/>
            <a:ext cx="2628000" cy="3943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/>
          <p:cNvSpPr txBox="1"/>
          <p:nvPr/>
        </p:nvSpPr>
        <p:spPr bwMode="gray">
          <a:xfrm>
            <a:off x="652463" y="4890522"/>
            <a:ext cx="2628000" cy="611274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pPr algn="ctr"/>
            <a:r>
              <a:rPr lang="en-US" dirty="0" smtClean="0">
                <a:solidFill>
                  <a:srgbClr val="313131"/>
                </a:solidFill>
              </a:rPr>
              <a:t>BELSIL</a:t>
            </a:r>
            <a:r>
              <a:rPr lang="en-US" baseline="30000" dirty="0" smtClean="0">
                <a:solidFill>
                  <a:srgbClr val="313131"/>
                </a:solidFill>
              </a:rPr>
              <a:t>®</a:t>
            </a:r>
            <a:r>
              <a:rPr lang="en-US" dirty="0" smtClean="0">
                <a:solidFill>
                  <a:srgbClr val="313131"/>
                </a:solidFill>
              </a:rPr>
              <a:t/>
            </a:r>
            <a:br>
              <a:rPr lang="en-US" dirty="0" smtClean="0">
                <a:solidFill>
                  <a:srgbClr val="313131"/>
                </a:solidFill>
              </a:rPr>
            </a:br>
            <a:r>
              <a:rPr lang="en-US" dirty="0">
                <a:solidFill>
                  <a:srgbClr val="313131"/>
                </a:solidFill>
              </a:rPr>
              <a:t>ADM 8301 E</a:t>
            </a:r>
            <a:endParaRPr lang="de-DE" dirty="0" smtClean="0">
              <a:solidFill>
                <a:srgbClr val="31313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361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ючевые преимущества </a:t>
            </a:r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ADM 8301 E 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5630400" y="1544638"/>
            <a:ext cx="4410000" cy="2600642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защитная плёнкообразующая технология</a:t>
            </a:r>
            <a:endParaRPr lang="en-US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/>
              <a:t>обеспечение </a:t>
            </a:r>
            <a:r>
              <a:rPr lang="ru-RU" dirty="0" err="1"/>
              <a:t>термозащиты</a:t>
            </a:r>
            <a:r>
              <a:rPr lang="ru-RU" dirty="0"/>
              <a:t> и стойкости цвета</a:t>
            </a:r>
            <a:endParaRPr lang="en-US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высокоэффективное кондиционирование</a:t>
            </a:r>
            <a:r>
              <a:rPr lang="en-US" dirty="0" smtClean="0"/>
              <a:t> </a:t>
            </a:r>
          </a:p>
          <a:p>
            <a:pPr lvl="1"/>
            <a:endParaRPr lang="en-US" dirty="0" smtClean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63" y="1609725"/>
            <a:ext cx="4410075" cy="3116383"/>
          </a:xfrm>
        </p:spPr>
      </p:pic>
      <p:sp>
        <p:nvSpPr>
          <p:cNvPr id="7" name="Rectangle 6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44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4" name="Bildplatzhalter 3"/>
          <p:cNvPicPr>
            <a:picLocks noGrp="1" noChangeAspect="1"/>
          </p:cNvPicPr>
          <p:nvPr>
            <p:ph type="pic" sz="quarter" idx="2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/>
      </p:pic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653725" y="194400"/>
            <a:ext cx="9388800" cy="799200"/>
          </a:xfrm>
        </p:spPr>
        <p:txBody>
          <a:bodyPr/>
          <a:lstStyle/>
          <a:p>
            <a:r>
              <a:rPr lang="ru-RU" dirty="0" smtClean="0"/>
              <a:t>Свыше 100 лет успеха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 bwMode="gray"/>
        <p:txBody>
          <a:bodyPr/>
          <a:lstStyle/>
          <a:p>
            <a:r>
              <a:rPr lang="en-US" dirty="0" err="1" smtClean="0"/>
              <a:t>Wacker</a:t>
            </a:r>
            <a:r>
              <a:rPr lang="en-US" dirty="0" smtClean="0"/>
              <a:t> </a:t>
            </a:r>
            <a:r>
              <a:rPr lang="en-US" dirty="0" err="1" smtClean="0"/>
              <a:t>Chemie</a:t>
            </a:r>
            <a:r>
              <a:rPr lang="en-US" dirty="0" smtClean="0"/>
              <a:t> AG</a:t>
            </a:r>
          </a:p>
          <a:p>
            <a:pPr lvl="2"/>
            <a:r>
              <a:rPr lang="ru-RU" dirty="0" smtClean="0"/>
              <a:t>Компания основана                             в </a:t>
            </a:r>
            <a:r>
              <a:rPr lang="en-US" dirty="0" smtClean="0"/>
              <a:t>1914</a:t>
            </a:r>
            <a:r>
              <a:rPr lang="ru-RU" dirty="0" smtClean="0"/>
              <a:t>г. </a:t>
            </a:r>
            <a:r>
              <a:rPr lang="en-US" dirty="0" smtClean="0"/>
              <a:t>Dr. Alexander Wacker </a:t>
            </a:r>
          </a:p>
          <a:p>
            <a:pPr lvl="2"/>
            <a:r>
              <a:rPr lang="ru-RU" dirty="0" smtClean="0"/>
              <a:t>Головной офис – в Мюнхене</a:t>
            </a:r>
            <a:endParaRPr lang="en-US" dirty="0" smtClean="0"/>
          </a:p>
          <a:p>
            <a:pPr lvl="2"/>
            <a:endParaRPr lang="en-US" dirty="0" smtClean="0"/>
          </a:p>
          <a:p>
            <a:r>
              <a:rPr lang="en-US" dirty="0" smtClean="0"/>
              <a:t>WACKER Group (2015)</a:t>
            </a:r>
          </a:p>
          <a:p>
            <a:pPr lvl="2"/>
            <a:r>
              <a:rPr lang="ru-RU" dirty="0" smtClean="0"/>
              <a:t>Продажи</a:t>
            </a:r>
            <a:r>
              <a:rPr lang="en-US" dirty="0" smtClean="0"/>
              <a:t>:			</a:t>
            </a:r>
          </a:p>
          <a:p>
            <a:pPr lvl="2"/>
            <a:r>
              <a:rPr lang="en-US" dirty="0" smtClean="0"/>
              <a:t>EBITDA:			</a:t>
            </a:r>
          </a:p>
          <a:p>
            <a:pPr lvl="2"/>
            <a:r>
              <a:rPr lang="en-US" dirty="0" smtClean="0"/>
              <a:t>R&amp;D:				</a:t>
            </a:r>
          </a:p>
          <a:p>
            <a:pPr lvl="2"/>
            <a:r>
              <a:rPr lang="ru-RU" dirty="0" smtClean="0"/>
              <a:t>Инвестиции:</a:t>
            </a:r>
            <a:r>
              <a:rPr lang="en-US" dirty="0" smtClean="0"/>
              <a:t>			</a:t>
            </a:r>
          </a:p>
          <a:p>
            <a:pPr lvl="2"/>
            <a:r>
              <a:rPr lang="ru-RU" dirty="0" smtClean="0"/>
              <a:t>Кол-во сотрудников</a:t>
            </a:r>
            <a:r>
              <a:rPr lang="en-US" dirty="0" smtClean="0"/>
              <a:t>:</a:t>
            </a:r>
            <a:endParaRPr lang="en-US" dirty="0"/>
          </a:p>
        </p:txBody>
      </p:sp>
      <p:sp>
        <p:nvSpPr>
          <p:cNvPr id="9" name="Inhaltsplatzhalter 7"/>
          <p:cNvSpPr txBox="1">
            <a:spLocks/>
          </p:cNvSpPr>
          <p:nvPr/>
        </p:nvSpPr>
        <p:spPr bwMode="gray">
          <a:xfrm>
            <a:off x="5939903" y="4212458"/>
            <a:ext cx="4102621" cy="24090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2" indent="0" algn="r">
              <a:buClr>
                <a:srgbClr val="436597"/>
              </a:buClr>
              <a:buFont typeface="Wingdings 3" pitchFamily="18" charset="2"/>
              <a:buNone/>
            </a:pPr>
            <a:r>
              <a:rPr lang="en-US" dirty="0" smtClean="0">
                <a:solidFill>
                  <a:srgbClr val="313131"/>
                </a:solidFill>
              </a:rPr>
              <a:t>€5.30 </a:t>
            </a:r>
            <a:r>
              <a:rPr lang="en-US" dirty="0">
                <a:solidFill>
                  <a:srgbClr val="313131"/>
                </a:solidFill>
              </a:rPr>
              <a:t>billion</a:t>
            </a:r>
          </a:p>
          <a:p>
            <a:pPr marL="0" lvl="2" indent="0" algn="r">
              <a:buClr>
                <a:srgbClr val="436597"/>
              </a:buClr>
              <a:buFont typeface="Wingdings 3" pitchFamily="18" charset="2"/>
              <a:buNone/>
            </a:pPr>
            <a:r>
              <a:rPr lang="en-US" dirty="0" smtClean="0">
                <a:solidFill>
                  <a:srgbClr val="313131"/>
                </a:solidFill>
              </a:rPr>
              <a:t>€1.05 billion</a:t>
            </a:r>
            <a:endParaRPr lang="en-US" dirty="0">
              <a:solidFill>
                <a:srgbClr val="313131"/>
              </a:solidFill>
            </a:endParaRPr>
          </a:p>
          <a:p>
            <a:pPr marL="0" lvl="2" indent="0" algn="r">
              <a:buClr>
                <a:srgbClr val="436597"/>
              </a:buClr>
              <a:buFont typeface="Wingdings 3" pitchFamily="18" charset="2"/>
              <a:buNone/>
            </a:pPr>
            <a:r>
              <a:rPr lang="en-US" dirty="0" smtClean="0">
                <a:solidFill>
                  <a:srgbClr val="313131"/>
                </a:solidFill>
              </a:rPr>
              <a:t>€175 </a:t>
            </a:r>
            <a:r>
              <a:rPr lang="en-US" dirty="0">
                <a:solidFill>
                  <a:srgbClr val="313131"/>
                </a:solidFill>
              </a:rPr>
              <a:t>million</a:t>
            </a:r>
          </a:p>
          <a:p>
            <a:pPr marL="0" lvl="2" indent="0" algn="r">
              <a:buClr>
                <a:srgbClr val="436597"/>
              </a:buClr>
              <a:buFont typeface="Wingdings 3" pitchFamily="18" charset="2"/>
              <a:buNone/>
            </a:pPr>
            <a:r>
              <a:rPr lang="en-US" dirty="0" smtClean="0">
                <a:solidFill>
                  <a:srgbClr val="313131"/>
                </a:solidFill>
              </a:rPr>
              <a:t>€834 million</a:t>
            </a:r>
            <a:endParaRPr lang="en-US" dirty="0">
              <a:solidFill>
                <a:srgbClr val="313131"/>
              </a:solidFill>
            </a:endParaRPr>
          </a:p>
          <a:p>
            <a:pPr marL="0" lvl="2" indent="0" algn="r">
              <a:buClr>
                <a:srgbClr val="436597"/>
              </a:buClr>
              <a:buFont typeface="Wingdings 3" pitchFamily="18" charset="2"/>
              <a:buNone/>
            </a:pPr>
            <a:r>
              <a:rPr lang="en-US" dirty="0" smtClean="0">
                <a:solidFill>
                  <a:srgbClr val="313131"/>
                </a:solidFill>
              </a:rPr>
              <a:t>16,972</a:t>
            </a:r>
            <a:endParaRPr lang="en-US" dirty="0">
              <a:solidFill>
                <a:srgbClr val="31313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75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ADM 8301 E</a:t>
            </a:r>
            <a:r>
              <a:rPr lang="ru-RU" dirty="0" smtClean="0"/>
              <a:t> </a:t>
            </a:r>
            <a:r>
              <a:rPr lang="ru-RU" dirty="0"/>
              <a:t>в</a:t>
            </a:r>
            <a:r>
              <a:rPr lang="ru-RU" dirty="0" smtClean="0"/>
              <a:t> прозрачных шампунях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ru-RU" dirty="0" smtClean="0"/>
              <a:t>Преимущества</a:t>
            </a:r>
            <a:endParaRPr lang="de-DE" dirty="0" smtClean="0"/>
          </a:p>
          <a:p>
            <a:pPr lvl="1"/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ADM 8301 E </a:t>
            </a:r>
            <a:r>
              <a:rPr lang="ru-RU" dirty="0" smtClean="0"/>
              <a:t>– это </a:t>
            </a:r>
            <a:r>
              <a:rPr lang="ru-RU" dirty="0" err="1" smtClean="0"/>
              <a:t>микроэмульсия</a:t>
            </a:r>
            <a:r>
              <a:rPr lang="ru-RU" dirty="0" smtClean="0"/>
              <a:t> с размером частиц до </a:t>
            </a:r>
            <a:r>
              <a:rPr lang="de-DE" dirty="0" smtClean="0"/>
              <a:t>&lt; </a:t>
            </a:r>
            <a:r>
              <a:rPr lang="ru-RU" dirty="0" smtClean="0"/>
              <a:t>5</a:t>
            </a:r>
            <a:r>
              <a:rPr lang="de-DE" dirty="0" smtClean="0"/>
              <a:t>0 </a:t>
            </a:r>
            <a:r>
              <a:rPr lang="ru-RU" dirty="0" err="1" smtClean="0"/>
              <a:t>нм</a:t>
            </a:r>
            <a:endParaRPr lang="de-DE" dirty="0" smtClean="0"/>
          </a:p>
          <a:p>
            <a:pPr lvl="1"/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ADM 8301 E </a:t>
            </a:r>
            <a:r>
              <a:rPr lang="ru-RU" dirty="0" smtClean="0"/>
              <a:t>придаёт шампуню </a:t>
            </a:r>
            <a:r>
              <a:rPr lang="ru-RU" dirty="0" smtClean="0"/>
              <a:t>конди</a:t>
            </a:r>
            <a:r>
              <a:rPr lang="ru-RU" dirty="0" smtClean="0"/>
              <a:t>ци</a:t>
            </a:r>
            <a:r>
              <a:rPr lang="ru-RU" dirty="0" smtClean="0"/>
              <a:t>онирующие </a:t>
            </a:r>
            <a:r>
              <a:rPr lang="ru-RU" dirty="0" smtClean="0"/>
              <a:t>свойства даже при низких дозировках </a:t>
            </a:r>
          </a:p>
          <a:p>
            <a:pPr lvl="1"/>
            <a:endParaRPr lang="de-DE" dirty="0" smtClean="0"/>
          </a:p>
          <a:p>
            <a:r>
              <a:rPr lang="ru-RU" dirty="0" smtClean="0"/>
              <a:t>Внимание!</a:t>
            </a:r>
            <a:endParaRPr lang="de-DE" dirty="0" smtClean="0"/>
          </a:p>
          <a:p>
            <a:pPr lvl="1"/>
            <a:r>
              <a:rPr lang="ru-RU" dirty="0" smtClean="0"/>
              <a:t>Необходимо следить за вязкостью шампуня</a:t>
            </a:r>
            <a:endParaRPr lang="de-DE" dirty="0" smtClean="0"/>
          </a:p>
          <a:p>
            <a:pPr lvl="1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650875" y="5218823"/>
            <a:ext cx="4327936" cy="984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17088" dir="8363922" algn="ctr" rotWithShape="0">
                    <a:srgbClr val="FF9933"/>
                  </a:outerShdw>
                </a:effectLst>
              </a14:hiddenEffects>
            </a:ext>
          </a:extLst>
        </p:spPr>
        <p:txBody>
          <a:bodyPr wrap="square" lIns="91328" tIns="45665" rIns="91328" bIns="45665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/>
            <a:r>
              <a:rPr lang="ru-RU" sz="2900" b="1" dirty="0" smtClean="0">
                <a:solidFill>
                  <a:srgbClr val="A33B3B"/>
                </a:solidFill>
              </a:rPr>
              <a:t>Дозировка</a:t>
            </a:r>
            <a:endParaRPr lang="de-DE" sz="2900" b="1" dirty="0">
              <a:solidFill>
                <a:srgbClr val="A33B3B"/>
              </a:solidFill>
            </a:endParaRPr>
          </a:p>
          <a:p>
            <a:pPr algn="ctr"/>
            <a:r>
              <a:rPr lang="en-US" sz="2900" dirty="0" smtClean="0">
                <a:solidFill>
                  <a:srgbClr val="A33B3B"/>
                </a:solidFill>
              </a:rPr>
              <a:t>0</a:t>
            </a:r>
            <a:r>
              <a:rPr lang="ru-RU" sz="2900" dirty="0">
                <a:solidFill>
                  <a:srgbClr val="A33B3B"/>
                </a:solidFill>
              </a:rPr>
              <a:t>,</a:t>
            </a:r>
            <a:r>
              <a:rPr lang="en-US" sz="2900" dirty="0" smtClean="0">
                <a:solidFill>
                  <a:srgbClr val="A33B3B"/>
                </a:solidFill>
              </a:rPr>
              <a:t>5 </a:t>
            </a:r>
            <a:r>
              <a:rPr lang="en-US" sz="2900" dirty="0">
                <a:solidFill>
                  <a:srgbClr val="A33B3B"/>
                </a:solidFill>
              </a:rPr>
              <a:t>% </a:t>
            </a:r>
            <a:r>
              <a:rPr lang="ru-RU" sz="2900" dirty="0" smtClean="0">
                <a:solidFill>
                  <a:srgbClr val="A33B3B"/>
                </a:solidFill>
              </a:rPr>
              <a:t>по акт. в-</a:t>
            </a:r>
            <a:r>
              <a:rPr lang="ru-RU" sz="2900" dirty="0" err="1" smtClean="0">
                <a:solidFill>
                  <a:srgbClr val="A33B3B"/>
                </a:solidFill>
              </a:rPr>
              <a:t>ву</a:t>
            </a:r>
            <a:endParaRPr lang="en-US" dirty="0">
              <a:solidFill>
                <a:srgbClr val="A3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56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dirty="0" smtClean="0"/>
              <a:t>Прозрачный шампунь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SLES (14%), CAPB (3%), </a:t>
            </a:r>
            <a:r>
              <a:rPr lang="de-DE" dirty="0" err="1" smtClean="0"/>
              <a:t>Cocamide</a:t>
            </a:r>
            <a:r>
              <a:rPr lang="de-DE" dirty="0" smtClean="0"/>
              <a:t> MEA (1%)</a:t>
            </a:r>
            <a:endParaRPr lang="en-US" dirty="0"/>
          </a:p>
        </p:txBody>
      </p:sp>
      <p:graphicFrame>
        <p:nvGraphicFramePr>
          <p:cNvPr id="10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3840218"/>
              </p:ext>
            </p:extLst>
          </p:nvPr>
        </p:nvGraphicFramePr>
        <p:xfrm>
          <a:off x="638174" y="1598609"/>
          <a:ext cx="9636357" cy="5013965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927409"/>
                <a:gridCol w="2456877"/>
                <a:gridCol w="4789031"/>
                <a:gridCol w="1463040"/>
              </a:tblGrid>
              <a:tr h="583210">
                <a:tc>
                  <a:txBody>
                    <a:bodyPr/>
                    <a:lstStyle/>
                    <a:p>
                      <a:r>
                        <a:rPr lang="de-DE" sz="1800" b="1" dirty="0" smtClean="0">
                          <a:solidFill>
                            <a:schemeClr val="accent1"/>
                          </a:solidFill>
                        </a:rPr>
                        <a:t>Phase</a:t>
                      </a:r>
                      <a:endParaRPr lang="de-DE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800" b="1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Trade Name</a:t>
                      </a:r>
                      <a:endParaRPr lang="de-DE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INCI </a:t>
                      </a:r>
                      <a:r>
                        <a:rPr lang="de-DE" sz="1800" b="1" dirty="0" err="1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name</a:t>
                      </a:r>
                      <a:endParaRPr lang="de-DE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Conc</a:t>
                      </a:r>
                      <a:r>
                        <a:rPr lang="de-DE" sz="1800" b="1" dirty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 </a:t>
                      </a:r>
                      <a:endParaRPr lang="de-DE" sz="20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de-DE" sz="1600" b="0" i="0" u="none" strike="noStrike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SA-UP871D</a:t>
                      </a:r>
                      <a:endParaRPr lang="de-DE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24022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ter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qua (DI Water)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,00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24022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CARE Polymer JR 40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olyquaternium-1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1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24022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erlan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0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camide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EA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0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24022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enapol LRO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dium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ureth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Sulfate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,8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24022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xyl PE 901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henoxyethanol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thylhexylglycerin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95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11213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enagen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AB 818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camidopropyl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etaine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06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36378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E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BELSIL</a:t>
                      </a:r>
                      <a:r>
                        <a:rPr lang="de-DE" sz="1600" b="0" i="0" u="none" strike="noStrike" baseline="30000" dirty="0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®</a:t>
                      </a:r>
                      <a:r>
                        <a:rPr lang="de-DE" sz="1600" b="0" i="0" u="none" strike="noStrike" dirty="0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 ADM 8301 E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Amodimethicone</a:t>
                      </a:r>
                      <a:r>
                        <a:rPr lang="de-DE" sz="1600" b="0" i="0" u="none" strike="noStrike" dirty="0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/</a:t>
                      </a:r>
                      <a:r>
                        <a:rPr lang="de-DE" sz="1600" b="0" i="0" u="none" strike="noStrike" dirty="0" err="1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Morpholinomethyl</a:t>
                      </a:r>
                      <a:r>
                        <a:rPr lang="de-DE" sz="1600" b="0" i="0" u="none" strike="noStrike" dirty="0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Silsesquioxane</a:t>
                      </a:r>
                      <a:r>
                        <a:rPr lang="de-DE" sz="1600" b="0" i="0" u="none" strike="noStrike" dirty="0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Copolymer</a:t>
                      </a:r>
                      <a:r>
                        <a:rPr lang="de-DE" sz="1600" b="0" i="0" u="none" strike="noStrike" dirty="0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, Trideceth-5, Glycerin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A33B3B"/>
                          </a:solidFill>
                          <a:effectLst/>
                          <a:latin typeface="Arial"/>
                        </a:rPr>
                        <a:t>2,5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862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ter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qua (DI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ter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)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57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24022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ragrance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rfum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5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24022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triumchlorid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dium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hloride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52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188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Спасибо за внимание!</a:t>
            </a:r>
            <a:br>
              <a:rPr lang="ru-RU" dirty="0" smtClean="0"/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9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62" y="993600"/>
            <a:ext cx="9926200" cy="592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48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сметические силиконы </a:t>
            </a:r>
            <a:r>
              <a:rPr lang="en-US" dirty="0" smtClean="0"/>
              <a:t>WACKER</a:t>
            </a:r>
            <a:r>
              <a:rPr lang="ru-RU" dirty="0" smtClean="0"/>
              <a:t> </a:t>
            </a:r>
            <a:br>
              <a:rPr lang="ru-RU" dirty="0" smtClean="0"/>
            </a:br>
            <a:r>
              <a:rPr lang="ru-RU" dirty="0" smtClean="0"/>
              <a:t>представлены во всём мире</a:t>
            </a:r>
            <a:endParaRPr lang="de-DE" dirty="0"/>
          </a:p>
        </p:txBody>
      </p:sp>
      <p:sp>
        <p:nvSpPr>
          <p:cNvPr id="69" name="Rectangle 227"/>
          <p:cNvSpPr>
            <a:spLocks noChangeArrowheads="1"/>
          </p:cNvSpPr>
          <p:nvPr/>
        </p:nvSpPr>
        <p:spPr bwMode="auto">
          <a:xfrm>
            <a:off x="7375525" y="3218181"/>
            <a:ext cx="2500313" cy="373115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108000" rIns="72000" bIns="108000" anchor="ctr"/>
          <a:lstStyle/>
          <a:p>
            <a:endParaRPr lang="de-DE"/>
          </a:p>
        </p:txBody>
      </p:sp>
      <p:grpSp>
        <p:nvGrpSpPr>
          <p:cNvPr id="74" name="Group 233"/>
          <p:cNvGrpSpPr>
            <a:grpSpLocks/>
          </p:cNvGrpSpPr>
          <p:nvPr/>
        </p:nvGrpSpPr>
        <p:grpSpPr bwMode="auto">
          <a:xfrm>
            <a:off x="7372351" y="1709739"/>
            <a:ext cx="2493963" cy="1635125"/>
            <a:chOff x="4650" y="2820"/>
            <a:chExt cx="1571" cy="1030"/>
          </a:xfrm>
        </p:grpSpPr>
        <p:grpSp>
          <p:nvGrpSpPr>
            <p:cNvPr id="75" name="Group 231"/>
            <p:cNvGrpSpPr>
              <a:grpSpLocks/>
            </p:cNvGrpSpPr>
            <p:nvPr/>
          </p:nvGrpSpPr>
          <p:grpSpPr bwMode="auto">
            <a:xfrm>
              <a:off x="4874" y="3091"/>
              <a:ext cx="1153" cy="759"/>
              <a:chOff x="4994" y="3073"/>
              <a:chExt cx="1153" cy="759"/>
            </a:xfrm>
          </p:grpSpPr>
          <p:sp>
            <p:nvSpPr>
              <p:cNvPr id="78" name="Text Box 103"/>
              <p:cNvSpPr txBox="1">
                <a:spLocks noChangeArrowheads="1"/>
              </p:cNvSpPr>
              <p:nvPr/>
            </p:nvSpPr>
            <p:spPr bwMode="auto">
              <a:xfrm>
                <a:off x="5150" y="3073"/>
                <a:ext cx="997" cy="46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1pPr>
                <a:lvl2pPr marL="742950" indent="-285750"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2pPr>
                <a:lvl3pPr marL="1143000" indent="-228600"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3pPr>
                <a:lvl4pPr marL="1600200" indent="-228600"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4pPr>
                <a:lvl5pPr marL="2057400" indent="-228600"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5pPr>
                <a:lvl6pPr marL="2514600" indent="-228600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000000"/>
                    </a:solidFill>
                    <a:latin typeface="Arial" charset="0"/>
                  </a:defRPr>
                </a:lvl6pPr>
                <a:lvl7pPr marL="2971800" indent="-228600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000000"/>
                    </a:solidFill>
                    <a:latin typeface="Arial" charset="0"/>
                  </a:defRPr>
                </a:lvl7pPr>
                <a:lvl8pPr marL="3429000" indent="-228600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000000"/>
                    </a:solidFill>
                    <a:latin typeface="Arial" charset="0"/>
                  </a:defRPr>
                </a:lvl8pPr>
                <a:lvl9pPr marL="3886200" indent="-228600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000000"/>
                    </a:solidFill>
                    <a:latin typeface="Arial" charset="0"/>
                  </a:defRPr>
                </a:lvl9pPr>
              </a:lstStyle>
              <a:p>
                <a:pPr algn="l">
                  <a:spcBef>
                    <a:spcPct val="50000"/>
                  </a:spcBef>
                </a:pPr>
                <a:r>
                  <a:rPr lang="ru-RU" sz="1400" b="0" dirty="0" smtClean="0">
                    <a:solidFill>
                      <a:schemeClr val="tx1"/>
                    </a:solidFill>
                  </a:rPr>
                  <a:t>Производство силиконов для косметики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Text Box 104"/>
              <p:cNvSpPr txBox="1">
                <a:spLocks noChangeArrowheads="1"/>
              </p:cNvSpPr>
              <p:nvPr/>
            </p:nvSpPr>
            <p:spPr bwMode="auto">
              <a:xfrm>
                <a:off x="5149" y="3502"/>
                <a:ext cx="998" cy="33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1pPr>
                <a:lvl2pPr marL="742950" indent="-285750"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2pPr>
                <a:lvl3pPr marL="1143000" indent="-228600"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3pPr>
                <a:lvl4pPr marL="1600200" indent="-228600"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4pPr>
                <a:lvl5pPr marL="2057400" indent="-228600" defTabSz="863600" eaLnBrk="0" hangingPunct="0">
                  <a:defRPr sz="2000" b="1">
                    <a:solidFill>
                      <a:srgbClr val="000000"/>
                    </a:solidFill>
                    <a:latin typeface="Arial" charset="0"/>
                  </a:defRPr>
                </a:lvl5pPr>
                <a:lvl6pPr marL="2514600" indent="-228600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000000"/>
                    </a:solidFill>
                    <a:latin typeface="Arial" charset="0"/>
                  </a:defRPr>
                </a:lvl6pPr>
                <a:lvl7pPr marL="2971800" indent="-228600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000000"/>
                    </a:solidFill>
                    <a:latin typeface="Arial" charset="0"/>
                  </a:defRPr>
                </a:lvl7pPr>
                <a:lvl8pPr marL="3429000" indent="-228600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000000"/>
                    </a:solidFill>
                    <a:latin typeface="Arial" charset="0"/>
                  </a:defRPr>
                </a:lvl8pPr>
                <a:lvl9pPr marL="3886200" indent="-228600" algn="ctr" defTabSz="863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rgbClr val="000000"/>
                    </a:solidFill>
                    <a:latin typeface="Arial" charset="0"/>
                  </a:defRPr>
                </a:lvl9pPr>
              </a:lstStyle>
              <a:p>
                <a:pPr algn="l">
                  <a:spcBef>
                    <a:spcPct val="50000"/>
                  </a:spcBef>
                </a:pPr>
                <a:r>
                  <a:rPr lang="ru-RU" sz="1400" b="0" dirty="0" smtClean="0">
                    <a:solidFill>
                      <a:schemeClr val="tx1"/>
                    </a:solidFill>
                  </a:rPr>
                  <a:t>Косметические лаборатории             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Oval 213"/>
              <p:cNvSpPr>
                <a:spLocks noChangeAspect="1" noChangeArrowheads="1"/>
              </p:cNvSpPr>
              <p:nvPr/>
            </p:nvSpPr>
            <p:spPr bwMode="auto">
              <a:xfrm>
                <a:off x="4994" y="3127"/>
                <a:ext cx="97" cy="93"/>
              </a:xfrm>
              <a:prstGeom prst="ellipse">
                <a:avLst/>
              </a:prstGeom>
              <a:solidFill>
                <a:schemeClr val="accent6"/>
              </a:solidFill>
              <a:ln w="57150" algn="ctr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108000" rIns="72000" bIns="108000" anchor="ctr"/>
              <a:lstStyle/>
              <a:p>
                <a:endParaRPr lang="de-DE"/>
              </a:p>
            </p:txBody>
          </p:sp>
          <p:sp>
            <p:nvSpPr>
              <p:cNvPr id="81" name="Oval 214"/>
              <p:cNvSpPr>
                <a:spLocks noChangeAspect="1" noChangeArrowheads="1"/>
              </p:cNvSpPr>
              <p:nvPr/>
            </p:nvSpPr>
            <p:spPr bwMode="auto">
              <a:xfrm>
                <a:off x="4995" y="3533"/>
                <a:ext cx="97" cy="93"/>
              </a:xfrm>
              <a:prstGeom prst="ellipse">
                <a:avLst/>
              </a:prstGeom>
              <a:solidFill>
                <a:schemeClr val="bg1"/>
              </a:solidFill>
              <a:ln w="57150" algn="ctr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108000" rIns="72000" bIns="108000" anchor="ctr"/>
              <a:lstStyle/>
              <a:p>
                <a:endParaRPr lang="de-DE"/>
              </a:p>
            </p:txBody>
          </p:sp>
        </p:grpSp>
        <p:pic>
          <p:nvPicPr>
            <p:cNvPr id="76" name="Picture 216" descr="Logo_Silicones_RGB_10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8" y="2905"/>
              <a:ext cx="1463" cy="1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7" name="Rectangle 232"/>
            <p:cNvSpPr>
              <a:spLocks noChangeArrowheads="1"/>
            </p:cNvSpPr>
            <p:nvPr/>
          </p:nvSpPr>
          <p:spPr bwMode="auto">
            <a:xfrm>
              <a:off x="4650" y="2820"/>
              <a:ext cx="1571" cy="918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108000" rIns="72000" bIns="108000" anchor="ctr"/>
            <a:lstStyle/>
            <a:p>
              <a:endParaRPr lang="de-DE"/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944563" y="2324100"/>
            <a:ext cx="6291262" cy="3873501"/>
            <a:chOff x="944563" y="2324100"/>
            <a:chExt cx="6291262" cy="387350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47" name="Freeform 18"/>
            <p:cNvSpPr>
              <a:spLocks/>
            </p:cNvSpPr>
            <p:nvPr/>
          </p:nvSpPr>
          <p:spPr bwMode="auto">
            <a:xfrm>
              <a:off x="944563" y="2878138"/>
              <a:ext cx="2330450" cy="3319463"/>
            </a:xfrm>
            <a:custGeom>
              <a:avLst/>
              <a:gdLst>
                <a:gd name="T0" fmla="*/ 20 w 4399"/>
                <a:gd name="T1" fmla="*/ 76 h 5159"/>
                <a:gd name="T2" fmla="*/ 16 w 4399"/>
                <a:gd name="T3" fmla="*/ 107 h 5159"/>
                <a:gd name="T4" fmla="*/ 22 w 4399"/>
                <a:gd name="T5" fmla="*/ 125 h 5159"/>
                <a:gd name="T6" fmla="*/ 28 w 4399"/>
                <a:gd name="T7" fmla="*/ 148 h 5159"/>
                <a:gd name="T8" fmla="*/ 37 w 4399"/>
                <a:gd name="T9" fmla="*/ 143 h 5159"/>
                <a:gd name="T10" fmla="*/ 61 w 4399"/>
                <a:gd name="T11" fmla="*/ 107 h 5159"/>
                <a:gd name="T12" fmla="*/ 80 w 4399"/>
                <a:gd name="T13" fmla="*/ 103 h 5159"/>
                <a:gd name="T14" fmla="*/ 116 w 4399"/>
                <a:gd name="T15" fmla="*/ 128 h 5159"/>
                <a:gd name="T16" fmla="*/ 148 w 4399"/>
                <a:gd name="T17" fmla="*/ 175 h 5159"/>
                <a:gd name="T18" fmla="*/ 163 w 4399"/>
                <a:gd name="T19" fmla="*/ 222 h 5159"/>
                <a:gd name="T20" fmla="*/ 194 w 4399"/>
                <a:gd name="T21" fmla="*/ 330 h 5159"/>
                <a:gd name="T22" fmla="*/ 197 w 4399"/>
                <a:gd name="T23" fmla="*/ 317 h 5159"/>
                <a:gd name="T24" fmla="*/ 232 w 4399"/>
                <a:gd name="T25" fmla="*/ 383 h 5159"/>
                <a:gd name="T26" fmla="*/ 288 w 4399"/>
                <a:gd name="T27" fmla="*/ 427 h 5159"/>
                <a:gd name="T28" fmla="*/ 322 w 4399"/>
                <a:gd name="T29" fmla="*/ 465 h 5159"/>
                <a:gd name="T30" fmla="*/ 324 w 4399"/>
                <a:gd name="T31" fmla="*/ 501 h 5159"/>
                <a:gd name="T32" fmla="*/ 361 w 4399"/>
                <a:gd name="T33" fmla="*/ 631 h 5159"/>
                <a:gd name="T34" fmla="*/ 352 w 4399"/>
                <a:gd name="T35" fmla="*/ 780 h 5159"/>
                <a:gd name="T36" fmla="*/ 351 w 4399"/>
                <a:gd name="T37" fmla="*/ 838 h 5159"/>
                <a:gd name="T38" fmla="*/ 369 w 4399"/>
                <a:gd name="T39" fmla="*/ 818 h 5159"/>
                <a:gd name="T40" fmla="*/ 389 w 4399"/>
                <a:gd name="T41" fmla="*/ 753 h 5159"/>
                <a:gd name="T42" fmla="*/ 423 w 4399"/>
                <a:gd name="T43" fmla="*/ 706 h 5159"/>
                <a:gd name="T44" fmla="*/ 476 w 4399"/>
                <a:gd name="T45" fmla="*/ 582 h 5159"/>
                <a:gd name="T46" fmla="*/ 446 w 4399"/>
                <a:gd name="T47" fmla="*/ 510 h 5159"/>
                <a:gd name="T48" fmla="*/ 409 w 4399"/>
                <a:gd name="T49" fmla="*/ 473 h 5159"/>
                <a:gd name="T50" fmla="*/ 356 w 4399"/>
                <a:gd name="T51" fmla="*/ 443 h 5159"/>
                <a:gd name="T52" fmla="*/ 320 w 4399"/>
                <a:gd name="T53" fmla="*/ 455 h 5159"/>
                <a:gd name="T54" fmla="*/ 296 w 4399"/>
                <a:gd name="T55" fmla="*/ 401 h 5159"/>
                <a:gd name="T56" fmla="*/ 260 w 4399"/>
                <a:gd name="T57" fmla="*/ 377 h 5159"/>
                <a:gd name="T58" fmla="*/ 290 w 4399"/>
                <a:gd name="T59" fmla="*/ 328 h 5159"/>
                <a:gd name="T60" fmla="*/ 323 w 4399"/>
                <a:gd name="T61" fmla="*/ 358 h 5159"/>
                <a:gd name="T62" fmla="*/ 340 w 4399"/>
                <a:gd name="T63" fmla="*/ 283 h 5159"/>
                <a:gd name="T64" fmla="*/ 373 w 4399"/>
                <a:gd name="T65" fmla="*/ 232 h 5159"/>
                <a:gd name="T66" fmla="*/ 379 w 4399"/>
                <a:gd name="T67" fmla="*/ 240 h 5159"/>
                <a:gd name="T68" fmla="*/ 384 w 4399"/>
                <a:gd name="T69" fmla="*/ 223 h 5159"/>
                <a:gd name="T70" fmla="*/ 366 w 4399"/>
                <a:gd name="T71" fmla="*/ 202 h 5159"/>
                <a:gd name="T72" fmla="*/ 409 w 4399"/>
                <a:gd name="T73" fmla="*/ 161 h 5159"/>
                <a:gd name="T74" fmla="*/ 392 w 4399"/>
                <a:gd name="T75" fmla="*/ 134 h 5159"/>
                <a:gd name="T76" fmla="*/ 375 w 4399"/>
                <a:gd name="T77" fmla="*/ 124 h 5159"/>
                <a:gd name="T78" fmla="*/ 363 w 4399"/>
                <a:gd name="T79" fmla="*/ 105 h 5159"/>
                <a:gd name="T80" fmla="*/ 331 w 4399"/>
                <a:gd name="T81" fmla="*/ 96 h 5159"/>
                <a:gd name="T82" fmla="*/ 336 w 4399"/>
                <a:gd name="T83" fmla="*/ 145 h 5159"/>
                <a:gd name="T84" fmla="*/ 322 w 4399"/>
                <a:gd name="T85" fmla="*/ 180 h 5159"/>
                <a:gd name="T86" fmla="*/ 278 w 4399"/>
                <a:gd name="T87" fmla="*/ 139 h 5159"/>
                <a:gd name="T88" fmla="*/ 286 w 4399"/>
                <a:gd name="T89" fmla="*/ 88 h 5159"/>
                <a:gd name="T90" fmla="*/ 292 w 4399"/>
                <a:gd name="T91" fmla="*/ 66 h 5159"/>
                <a:gd name="T92" fmla="*/ 315 w 4399"/>
                <a:gd name="T93" fmla="*/ 36 h 5159"/>
                <a:gd name="T94" fmla="*/ 296 w 4399"/>
                <a:gd name="T95" fmla="*/ 37 h 5159"/>
                <a:gd name="T96" fmla="*/ 282 w 4399"/>
                <a:gd name="T97" fmla="*/ 19 h 5159"/>
                <a:gd name="T98" fmla="*/ 275 w 4399"/>
                <a:gd name="T99" fmla="*/ 35 h 5159"/>
                <a:gd name="T100" fmla="*/ 242 w 4399"/>
                <a:gd name="T101" fmla="*/ 44 h 5159"/>
                <a:gd name="T102" fmla="*/ 224 w 4399"/>
                <a:gd name="T103" fmla="*/ 49 h 5159"/>
                <a:gd name="T104" fmla="*/ 161 w 4399"/>
                <a:gd name="T105" fmla="*/ 27 h 5159"/>
                <a:gd name="T106" fmla="*/ 123 w 4399"/>
                <a:gd name="T107" fmla="*/ 30 h 5159"/>
                <a:gd name="T108" fmla="*/ 42 w 4399"/>
                <a:gd name="T109" fmla="*/ 7 h 5159"/>
                <a:gd name="T110" fmla="*/ 5 w 4399"/>
                <a:gd name="T111" fmla="*/ 37 h 5159"/>
                <a:gd name="T112" fmla="*/ 13 w 4399"/>
                <a:gd name="T113" fmla="*/ 54 h 515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399" h="5159">
                  <a:moveTo>
                    <a:pt x="0" y="390"/>
                  </a:moveTo>
                  <a:lnTo>
                    <a:pt x="60" y="403"/>
                  </a:lnTo>
                  <a:lnTo>
                    <a:pt x="39" y="412"/>
                  </a:lnTo>
                  <a:lnTo>
                    <a:pt x="61" y="445"/>
                  </a:lnTo>
                  <a:lnTo>
                    <a:pt x="162" y="441"/>
                  </a:lnTo>
                  <a:lnTo>
                    <a:pt x="181" y="461"/>
                  </a:lnTo>
                  <a:lnTo>
                    <a:pt x="221" y="447"/>
                  </a:lnTo>
                  <a:lnTo>
                    <a:pt x="233" y="504"/>
                  </a:lnTo>
                  <a:lnTo>
                    <a:pt x="95" y="559"/>
                  </a:lnTo>
                  <a:lnTo>
                    <a:pt x="71" y="617"/>
                  </a:lnTo>
                  <a:lnTo>
                    <a:pt x="92" y="639"/>
                  </a:lnTo>
                  <a:lnTo>
                    <a:pt x="142" y="649"/>
                  </a:lnTo>
                  <a:lnTo>
                    <a:pt x="118" y="677"/>
                  </a:lnTo>
                  <a:lnTo>
                    <a:pt x="140" y="705"/>
                  </a:lnTo>
                  <a:lnTo>
                    <a:pt x="164" y="707"/>
                  </a:lnTo>
                  <a:lnTo>
                    <a:pt x="188" y="673"/>
                  </a:lnTo>
                  <a:lnTo>
                    <a:pt x="212" y="736"/>
                  </a:lnTo>
                  <a:lnTo>
                    <a:pt x="195" y="759"/>
                  </a:lnTo>
                  <a:lnTo>
                    <a:pt x="254" y="727"/>
                  </a:lnTo>
                  <a:lnTo>
                    <a:pt x="302" y="774"/>
                  </a:lnTo>
                  <a:lnTo>
                    <a:pt x="374" y="737"/>
                  </a:lnTo>
                  <a:lnTo>
                    <a:pt x="307" y="852"/>
                  </a:lnTo>
                  <a:lnTo>
                    <a:pt x="255" y="874"/>
                  </a:lnTo>
                  <a:lnTo>
                    <a:pt x="254" y="898"/>
                  </a:lnTo>
                  <a:lnTo>
                    <a:pt x="195" y="902"/>
                  </a:lnTo>
                  <a:lnTo>
                    <a:pt x="153" y="947"/>
                  </a:lnTo>
                  <a:lnTo>
                    <a:pt x="212" y="912"/>
                  </a:lnTo>
                  <a:lnTo>
                    <a:pt x="273" y="913"/>
                  </a:lnTo>
                  <a:lnTo>
                    <a:pt x="292" y="879"/>
                  </a:lnTo>
                  <a:lnTo>
                    <a:pt x="335" y="870"/>
                  </a:lnTo>
                  <a:lnTo>
                    <a:pt x="460" y="784"/>
                  </a:lnTo>
                  <a:lnTo>
                    <a:pt x="484" y="752"/>
                  </a:lnTo>
                  <a:lnTo>
                    <a:pt x="461" y="725"/>
                  </a:lnTo>
                  <a:lnTo>
                    <a:pt x="576" y="621"/>
                  </a:lnTo>
                  <a:lnTo>
                    <a:pt x="597" y="631"/>
                  </a:lnTo>
                  <a:lnTo>
                    <a:pt x="552" y="655"/>
                  </a:lnTo>
                  <a:lnTo>
                    <a:pt x="535" y="705"/>
                  </a:lnTo>
                  <a:lnTo>
                    <a:pt x="563" y="705"/>
                  </a:lnTo>
                  <a:lnTo>
                    <a:pt x="537" y="732"/>
                  </a:lnTo>
                  <a:lnTo>
                    <a:pt x="644" y="694"/>
                  </a:lnTo>
                  <a:lnTo>
                    <a:pt x="666" y="645"/>
                  </a:lnTo>
                  <a:lnTo>
                    <a:pt x="717" y="629"/>
                  </a:lnTo>
                  <a:lnTo>
                    <a:pt x="704" y="656"/>
                  </a:lnTo>
                  <a:lnTo>
                    <a:pt x="792" y="694"/>
                  </a:lnTo>
                  <a:lnTo>
                    <a:pt x="961" y="699"/>
                  </a:lnTo>
                  <a:lnTo>
                    <a:pt x="973" y="736"/>
                  </a:lnTo>
                  <a:lnTo>
                    <a:pt x="1005" y="765"/>
                  </a:lnTo>
                  <a:lnTo>
                    <a:pt x="1039" y="781"/>
                  </a:lnTo>
                  <a:lnTo>
                    <a:pt x="1101" y="775"/>
                  </a:lnTo>
                  <a:lnTo>
                    <a:pt x="1152" y="801"/>
                  </a:lnTo>
                  <a:lnTo>
                    <a:pt x="1146" y="837"/>
                  </a:lnTo>
                  <a:lnTo>
                    <a:pt x="1221" y="887"/>
                  </a:lnTo>
                  <a:lnTo>
                    <a:pt x="1245" y="968"/>
                  </a:lnTo>
                  <a:lnTo>
                    <a:pt x="1328" y="1067"/>
                  </a:lnTo>
                  <a:lnTo>
                    <a:pt x="1334" y="1125"/>
                  </a:lnTo>
                  <a:lnTo>
                    <a:pt x="1438" y="1179"/>
                  </a:lnTo>
                  <a:lnTo>
                    <a:pt x="1489" y="1188"/>
                  </a:lnTo>
                  <a:lnTo>
                    <a:pt x="1506" y="1263"/>
                  </a:lnTo>
                  <a:lnTo>
                    <a:pt x="1438" y="1261"/>
                  </a:lnTo>
                  <a:lnTo>
                    <a:pt x="1463" y="1351"/>
                  </a:lnTo>
                  <a:lnTo>
                    <a:pt x="1449" y="1592"/>
                  </a:lnTo>
                  <a:lnTo>
                    <a:pt x="1515" y="1723"/>
                  </a:lnTo>
                  <a:lnTo>
                    <a:pt x="1575" y="1828"/>
                  </a:lnTo>
                  <a:lnTo>
                    <a:pt x="1641" y="1847"/>
                  </a:lnTo>
                  <a:lnTo>
                    <a:pt x="1691" y="1907"/>
                  </a:lnTo>
                  <a:lnTo>
                    <a:pt x="1738" y="2012"/>
                  </a:lnTo>
                  <a:lnTo>
                    <a:pt x="1822" y="2119"/>
                  </a:lnTo>
                  <a:lnTo>
                    <a:pt x="1853" y="2197"/>
                  </a:lnTo>
                  <a:lnTo>
                    <a:pt x="1927" y="2268"/>
                  </a:lnTo>
                  <a:lnTo>
                    <a:pt x="1946" y="2250"/>
                  </a:lnTo>
                  <a:lnTo>
                    <a:pt x="1773" y="1999"/>
                  </a:lnTo>
                  <a:lnTo>
                    <a:pt x="1764" y="1930"/>
                  </a:lnTo>
                  <a:lnTo>
                    <a:pt x="1799" y="1944"/>
                  </a:lnTo>
                  <a:lnTo>
                    <a:pt x="1864" y="2056"/>
                  </a:lnTo>
                  <a:lnTo>
                    <a:pt x="1955" y="2138"/>
                  </a:lnTo>
                  <a:lnTo>
                    <a:pt x="1951" y="2169"/>
                  </a:lnTo>
                  <a:lnTo>
                    <a:pt x="2069" y="2280"/>
                  </a:lnTo>
                  <a:lnTo>
                    <a:pt x="2086" y="2328"/>
                  </a:lnTo>
                  <a:lnTo>
                    <a:pt x="2073" y="2363"/>
                  </a:lnTo>
                  <a:lnTo>
                    <a:pt x="2100" y="2405"/>
                  </a:lnTo>
                  <a:lnTo>
                    <a:pt x="2338" y="2520"/>
                  </a:lnTo>
                  <a:lnTo>
                    <a:pt x="2442" y="2511"/>
                  </a:lnTo>
                  <a:lnTo>
                    <a:pt x="2513" y="2565"/>
                  </a:lnTo>
                  <a:lnTo>
                    <a:pt x="2583" y="2598"/>
                  </a:lnTo>
                  <a:lnTo>
                    <a:pt x="2658" y="2608"/>
                  </a:lnTo>
                  <a:lnTo>
                    <a:pt x="2725" y="2692"/>
                  </a:lnTo>
                  <a:lnTo>
                    <a:pt x="2727" y="2730"/>
                  </a:lnTo>
                  <a:lnTo>
                    <a:pt x="2752" y="2725"/>
                  </a:lnTo>
                  <a:lnTo>
                    <a:pt x="2817" y="2786"/>
                  </a:lnTo>
                  <a:lnTo>
                    <a:pt x="2894" y="2829"/>
                  </a:lnTo>
                  <a:lnTo>
                    <a:pt x="2900" y="2795"/>
                  </a:lnTo>
                  <a:lnTo>
                    <a:pt x="2942" y="2764"/>
                  </a:lnTo>
                  <a:lnTo>
                    <a:pt x="2980" y="2786"/>
                  </a:lnTo>
                  <a:lnTo>
                    <a:pt x="2984" y="2825"/>
                  </a:lnTo>
                  <a:lnTo>
                    <a:pt x="2999" y="2941"/>
                  </a:lnTo>
                  <a:lnTo>
                    <a:pt x="2914" y="3053"/>
                  </a:lnTo>
                  <a:lnTo>
                    <a:pt x="2890" y="3158"/>
                  </a:lnTo>
                  <a:lnTo>
                    <a:pt x="2882" y="3283"/>
                  </a:lnTo>
                  <a:lnTo>
                    <a:pt x="2951" y="3371"/>
                  </a:lnTo>
                  <a:lnTo>
                    <a:pt x="3036" y="3580"/>
                  </a:lnTo>
                  <a:lnTo>
                    <a:pt x="3230" y="3719"/>
                  </a:lnTo>
                  <a:lnTo>
                    <a:pt x="3241" y="3839"/>
                  </a:lnTo>
                  <a:lnTo>
                    <a:pt x="3196" y="4118"/>
                  </a:lnTo>
                  <a:lnTo>
                    <a:pt x="3197" y="4265"/>
                  </a:lnTo>
                  <a:lnTo>
                    <a:pt x="3128" y="4441"/>
                  </a:lnTo>
                  <a:lnTo>
                    <a:pt x="3121" y="4608"/>
                  </a:lnTo>
                  <a:lnTo>
                    <a:pt x="3170" y="4621"/>
                  </a:lnTo>
                  <a:lnTo>
                    <a:pt x="3161" y="4749"/>
                  </a:lnTo>
                  <a:lnTo>
                    <a:pt x="3107" y="4837"/>
                  </a:lnTo>
                  <a:lnTo>
                    <a:pt x="3099" y="4890"/>
                  </a:lnTo>
                  <a:lnTo>
                    <a:pt x="3122" y="4962"/>
                  </a:lnTo>
                  <a:lnTo>
                    <a:pt x="3113" y="5023"/>
                  </a:lnTo>
                  <a:lnTo>
                    <a:pt x="3152" y="5051"/>
                  </a:lnTo>
                  <a:lnTo>
                    <a:pt x="3155" y="5100"/>
                  </a:lnTo>
                  <a:lnTo>
                    <a:pt x="3172" y="5143"/>
                  </a:lnTo>
                  <a:lnTo>
                    <a:pt x="3210" y="5159"/>
                  </a:lnTo>
                  <a:lnTo>
                    <a:pt x="3220" y="5105"/>
                  </a:lnTo>
                  <a:lnTo>
                    <a:pt x="3301" y="5087"/>
                  </a:lnTo>
                  <a:lnTo>
                    <a:pt x="3266" y="5055"/>
                  </a:lnTo>
                  <a:lnTo>
                    <a:pt x="3315" y="4982"/>
                  </a:lnTo>
                  <a:lnTo>
                    <a:pt x="3391" y="4869"/>
                  </a:lnTo>
                  <a:lnTo>
                    <a:pt x="3328" y="4802"/>
                  </a:lnTo>
                  <a:lnTo>
                    <a:pt x="3395" y="4761"/>
                  </a:lnTo>
                  <a:lnTo>
                    <a:pt x="3452" y="4634"/>
                  </a:lnTo>
                  <a:lnTo>
                    <a:pt x="3410" y="4583"/>
                  </a:lnTo>
                  <a:lnTo>
                    <a:pt x="3496" y="4585"/>
                  </a:lnTo>
                  <a:lnTo>
                    <a:pt x="3502" y="4501"/>
                  </a:lnTo>
                  <a:lnTo>
                    <a:pt x="3645" y="4484"/>
                  </a:lnTo>
                  <a:lnTo>
                    <a:pt x="3687" y="4425"/>
                  </a:lnTo>
                  <a:lnTo>
                    <a:pt x="3627" y="4309"/>
                  </a:lnTo>
                  <a:lnTo>
                    <a:pt x="3747" y="4347"/>
                  </a:lnTo>
                  <a:lnTo>
                    <a:pt x="3796" y="4297"/>
                  </a:lnTo>
                  <a:lnTo>
                    <a:pt x="3954" y="4090"/>
                  </a:lnTo>
                  <a:lnTo>
                    <a:pt x="3966" y="3981"/>
                  </a:lnTo>
                  <a:lnTo>
                    <a:pt x="4091" y="3889"/>
                  </a:lnTo>
                  <a:lnTo>
                    <a:pt x="4201" y="3854"/>
                  </a:lnTo>
                  <a:lnTo>
                    <a:pt x="4266" y="3697"/>
                  </a:lnTo>
                  <a:lnTo>
                    <a:pt x="4275" y="3542"/>
                  </a:lnTo>
                  <a:lnTo>
                    <a:pt x="4399" y="3393"/>
                  </a:lnTo>
                  <a:lnTo>
                    <a:pt x="4387" y="3260"/>
                  </a:lnTo>
                  <a:lnTo>
                    <a:pt x="4260" y="3188"/>
                  </a:lnTo>
                  <a:lnTo>
                    <a:pt x="4093" y="3173"/>
                  </a:lnTo>
                  <a:lnTo>
                    <a:pt x="4079" y="3130"/>
                  </a:lnTo>
                  <a:lnTo>
                    <a:pt x="4006" y="3103"/>
                  </a:lnTo>
                  <a:lnTo>
                    <a:pt x="3862" y="3151"/>
                  </a:lnTo>
                  <a:lnTo>
                    <a:pt x="3866" y="3097"/>
                  </a:lnTo>
                  <a:lnTo>
                    <a:pt x="3914" y="3025"/>
                  </a:lnTo>
                  <a:lnTo>
                    <a:pt x="3860" y="2936"/>
                  </a:lnTo>
                  <a:lnTo>
                    <a:pt x="3778" y="2884"/>
                  </a:lnTo>
                  <a:lnTo>
                    <a:pt x="3678" y="2877"/>
                  </a:lnTo>
                  <a:lnTo>
                    <a:pt x="3583" y="2788"/>
                  </a:lnTo>
                  <a:lnTo>
                    <a:pt x="3545" y="2755"/>
                  </a:lnTo>
                  <a:lnTo>
                    <a:pt x="3484" y="2717"/>
                  </a:lnTo>
                  <a:lnTo>
                    <a:pt x="3314" y="2711"/>
                  </a:lnTo>
                  <a:lnTo>
                    <a:pt x="3247" y="2651"/>
                  </a:lnTo>
                  <a:lnTo>
                    <a:pt x="3201" y="2700"/>
                  </a:lnTo>
                  <a:lnTo>
                    <a:pt x="3196" y="2648"/>
                  </a:lnTo>
                  <a:lnTo>
                    <a:pt x="3082" y="2696"/>
                  </a:lnTo>
                  <a:lnTo>
                    <a:pt x="3020" y="2799"/>
                  </a:lnTo>
                  <a:lnTo>
                    <a:pt x="3000" y="2777"/>
                  </a:lnTo>
                  <a:lnTo>
                    <a:pt x="2942" y="2741"/>
                  </a:lnTo>
                  <a:lnTo>
                    <a:pt x="2873" y="2768"/>
                  </a:lnTo>
                  <a:lnTo>
                    <a:pt x="2832" y="2740"/>
                  </a:lnTo>
                  <a:lnTo>
                    <a:pt x="2794" y="2697"/>
                  </a:lnTo>
                  <a:lnTo>
                    <a:pt x="2807" y="2550"/>
                  </a:lnTo>
                  <a:lnTo>
                    <a:pt x="2746" y="2516"/>
                  </a:lnTo>
                  <a:lnTo>
                    <a:pt x="2620" y="2516"/>
                  </a:lnTo>
                  <a:lnTo>
                    <a:pt x="2656" y="2442"/>
                  </a:lnTo>
                  <a:lnTo>
                    <a:pt x="2689" y="2329"/>
                  </a:lnTo>
                  <a:lnTo>
                    <a:pt x="2650" y="2311"/>
                  </a:lnTo>
                  <a:lnTo>
                    <a:pt x="2572" y="2333"/>
                  </a:lnTo>
                  <a:lnTo>
                    <a:pt x="2531" y="2426"/>
                  </a:lnTo>
                  <a:lnTo>
                    <a:pt x="2397" y="2415"/>
                  </a:lnTo>
                  <a:lnTo>
                    <a:pt x="2331" y="2294"/>
                  </a:lnTo>
                  <a:lnTo>
                    <a:pt x="2354" y="2159"/>
                  </a:lnTo>
                  <a:lnTo>
                    <a:pt x="2342" y="2086"/>
                  </a:lnTo>
                  <a:lnTo>
                    <a:pt x="2420" y="2012"/>
                  </a:lnTo>
                  <a:lnTo>
                    <a:pt x="2521" y="2009"/>
                  </a:lnTo>
                  <a:lnTo>
                    <a:pt x="2604" y="2041"/>
                  </a:lnTo>
                  <a:lnTo>
                    <a:pt x="2605" y="1999"/>
                  </a:lnTo>
                  <a:lnTo>
                    <a:pt x="2651" y="1968"/>
                  </a:lnTo>
                  <a:lnTo>
                    <a:pt x="2792" y="2003"/>
                  </a:lnTo>
                  <a:lnTo>
                    <a:pt x="2824" y="2037"/>
                  </a:lnTo>
                  <a:lnTo>
                    <a:pt x="2827" y="2099"/>
                  </a:lnTo>
                  <a:lnTo>
                    <a:pt x="2875" y="2185"/>
                  </a:lnTo>
                  <a:lnTo>
                    <a:pt x="2899" y="2182"/>
                  </a:lnTo>
                  <a:lnTo>
                    <a:pt x="2911" y="2119"/>
                  </a:lnTo>
                  <a:lnTo>
                    <a:pt x="2868" y="1968"/>
                  </a:lnTo>
                  <a:lnTo>
                    <a:pt x="2892" y="1906"/>
                  </a:lnTo>
                  <a:lnTo>
                    <a:pt x="3057" y="1785"/>
                  </a:lnTo>
                  <a:lnTo>
                    <a:pt x="3037" y="1693"/>
                  </a:lnTo>
                  <a:lnTo>
                    <a:pt x="3057" y="1723"/>
                  </a:lnTo>
                  <a:lnTo>
                    <a:pt x="3089" y="1649"/>
                  </a:lnTo>
                  <a:lnTo>
                    <a:pt x="3121" y="1571"/>
                  </a:lnTo>
                  <a:lnTo>
                    <a:pt x="3250" y="1538"/>
                  </a:lnTo>
                  <a:lnTo>
                    <a:pt x="3215" y="1515"/>
                  </a:lnTo>
                  <a:lnTo>
                    <a:pt x="3241" y="1455"/>
                  </a:lnTo>
                  <a:lnTo>
                    <a:pt x="3346" y="1412"/>
                  </a:lnTo>
                  <a:lnTo>
                    <a:pt x="3347" y="1390"/>
                  </a:lnTo>
                  <a:lnTo>
                    <a:pt x="3427" y="1356"/>
                  </a:lnTo>
                  <a:lnTo>
                    <a:pt x="3422" y="1385"/>
                  </a:lnTo>
                  <a:lnTo>
                    <a:pt x="3470" y="1381"/>
                  </a:lnTo>
                  <a:lnTo>
                    <a:pt x="3379" y="1418"/>
                  </a:lnTo>
                  <a:lnTo>
                    <a:pt x="3403" y="1462"/>
                  </a:lnTo>
                  <a:lnTo>
                    <a:pt x="3442" y="1416"/>
                  </a:lnTo>
                  <a:lnTo>
                    <a:pt x="3543" y="1385"/>
                  </a:lnTo>
                  <a:lnTo>
                    <a:pt x="3583" y="1347"/>
                  </a:lnTo>
                  <a:lnTo>
                    <a:pt x="3558" y="1309"/>
                  </a:lnTo>
                  <a:lnTo>
                    <a:pt x="3534" y="1372"/>
                  </a:lnTo>
                  <a:lnTo>
                    <a:pt x="3451" y="1356"/>
                  </a:lnTo>
                  <a:lnTo>
                    <a:pt x="3407" y="1308"/>
                  </a:lnTo>
                  <a:lnTo>
                    <a:pt x="3422" y="1274"/>
                  </a:lnTo>
                  <a:lnTo>
                    <a:pt x="3363" y="1265"/>
                  </a:lnTo>
                  <a:lnTo>
                    <a:pt x="3441" y="1240"/>
                  </a:lnTo>
                  <a:lnTo>
                    <a:pt x="3395" y="1214"/>
                  </a:lnTo>
                  <a:lnTo>
                    <a:pt x="3287" y="1230"/>
                  </a:lnTo>
                  <a:lnTo>
                    <a:pt x="3371" y="1166"/>
                  </a:lnTo>
                  <a:lnTo>
                    <a:pt x="3576" y="1166"/>
                  </a:lnTo>
                  <a:lnTo>
                    <a:pt x="3723" y="1077"/>
                  </a:lnTo>
                  <a:lnTo>
                    <a:pt x="3717" y="1010"/>
                  </a:lnTo>
                  <a:lnTo>
                    <a:pt x="3672" y="1018"/>
                  </a:lnTo>
                  <a:lnTo>
                    <a:pt x="3672" y="980"/>
                  </a:lnTo>
                  <a:lnTo>
                    <a:pt x="3569" y="1023"/>
                  </a:lnTo>
                  <a:lnTo>
                    <a:pt x="3543" y="1006"/>
                  </a:lnTo>
                  <a:lnTo>
                    <a:pt x="3665" y="961"/>
                  </a:lnTo>
                  <a:lnTo>
                    <a:pt x="3569" y="903"/>
                  </a:lnTo>
                  <a:lnTo>
                    <a:pt x="3520" y="864"/>
                  </a:lnTo>
                  <a:lnTo>
                    <a:pt x="3519" y="813"/>
                  </a:lnTo>
                  <a:lnTo>
                    <a:pt x="3476" y="791"/>
                  </a:lnTo>
                  <a:lnTo>
                    <a:pt x="3485" y="759"/>
                  </a:lnTo>
                  <a:lnTo>
                    <a:pt x="3466" y="729"/>
                  </a:lnTo>
                  <a:lnTo>
                    <a:pt x="3427" y="676"/>
                  </a:lnTo>
                  <a:lnTo>
                    <a:pt x="3394" y="705"/>
                  </a:lnTo>
                  <a:lnTo>
                    <a:pt x="3366" y="752"/>
                  </a:lnTo>
                  <a:lnTo>
                    <a:pt x="3303" y="786"/>
                  </a:lnTo>
                  <a:lnTo>
                    <a:pt x="3299" y="752"/>
                  </a:lnTo>
                  <a:lnTo>
                    <a:pt x="3220" y="774"/>
                  </a:lnTo>
                  <a:lnTo>
                    <a:pt x="3276" y="727"/>
                  </a:lnTo>
                  <a:lnTo>
                    <a:pt x="3264" y="692"/>
                  </a:lnTo>
                  <a:lnTo>
                    <a:pt x="3258" y="637"/>
                  </a:lnTo>
                  <a:lnTo>
                    <a:pt x="3196" y="629"/>
                  </a:lnTo>
                  <a:lnTo>
                    <a:pt x="3196" y="609"/>
                  </a:lnTo>
                  <a:lnTo>
                    <a:pt x="3121" y="562"/>
                  </a:lnTo>
                  <a:lnTo>
                    <a:pt x="3082" y="577"/>
                  </a:lnTo>
                  <a:lnTo>
                    <a:pt x="2988" y="560"/>
                  </a:lnTo>
                  <a:lnTo>
                    <a:pt x="2976" y="588"/>
                  </a:lnTo>
                  <a:lnTo>
                    <a:pt x="2999" y="609"/>
                  </a:lnTo>
                  <a:lnTo>
                    <a:pt x="2977" y="653"/>
                  </a:lnTo>
                  <a:lnTo>
                    <a:pt x="3014" y="714"/>
                  </a:lnTo>
                  <a:lnTo>
                    <a:pt x="2955" y="754"/>
                  </a:lnTo>
                  <a:lnTo>
                    <a:pt x="2999" y="781"/>
                  </a:lnTo>
                  <a:lnTo>
                    <a:pt x="3020" y="880"/>
                  </a:lnTo>
                  <a:lnTo>
                    <a:pt x="2926" y="963"/>
                  </a:lnTo>
                  <a:lnTo>
                    <a:pt x="2958" y="1062"/>
                  </a:lnTo>
                  <a:lnTo>
                    <a:pt x="2984" y="1073"/>
                  </a:lnTo>
                  <a:lnTo>
                    <a:pt x="2924" y="1127"/>
                  </a:lnTo>
                  <a:lnTo>
                    <a:pt x="2878" y="1130"/>
                  </a:lnTo>
                  <a:lnTo>
                    <a:pt x="2893" y="1098"/>
                  </a:lnTo>
                  <a:lnTo>
                    <a:pt x="2839" y="1040"/>
                  </a:lnTo>
                  <a:lnTo>
                    <a:pt x="2839" y="939"/>
                  </a:lnTo>
                  <a:lnTo>
                    <a:pt x="2736" y="924"/>
                  </a:lnTo>
                  <a:lnTo>
                    <a:pt x="2612" y="852"/>
                  </a:lnTo>
                  <a:lnTo>
                    <a:pt x="2548" y="832"/>
                  </a:lnTo>
                  <a:lnTo>
                    <a:pt x="2493" y="849"/>
                  </a:lnTo>
                  <a:lnTo>
                    <a:pt x="2479" y="755"/>
                  </a:lnTo>
                  <a:lnTo>
                    <a:pt x="2442" y="771"/>
                  </a:lnTo>
                  <a:lnTo>
                    <a:pt x="2435" y="618"/>
                  </a:lnTo>
                  <a:lnTo>
                    <a:pt x="2498" y="582"/>
                  </a:lnTo>
                  <a:lnTo>
                    <a:pt x="2504" y="545"/>
                  </a:lnTo>
                  <a:lnTo>
                    <a:pt x="2564" y="532"/>
                  </a:lnTo>
                  <a:lnTo>
                    <a:pt x="2469" y="472"/>
                  </a:lnTo>
                  <a:lnTo>
                    <a:pt x="2563" y="504"/>
                  </a:lnTo>
                  <a:lnTo>
                    <a:pt x="2589" y="470"/>
                  </a:lnTo>
                  <a:lnTo>
                    <a:pt x="2641" y="472"/>
                  </a:lnTo>
                  <a:lnTo>
                    <a:pt x="2688" y="409"/>
                  </a:lnTo>
                  <a:lnTo>
                    <a:pt x="2618" y="401"/>
                  </a:lnTo>
                  <a:lnTo>
                    <a:pt x="2583" y="371"/>
                  </a:lnTo>
                  <a:lnTo>
                    <a:pt x="2692" y="391"/>
                  </a:lnTo>
                  <a:lnTo>
                    <a:pt x="2699" y="332"/>
                  </a:lnTo>
                  <a:lnTo>
                    <a:pt x="2807" y="342"/>
                  </a:lnTo>
                  <a:lnTo>
                    <a:pt x="2870" y="300"/>
                  </a:lnTo>
                  <a:lnTo>
                    <a:pt x="2832" y="221"/>
                  </a:lnTo>
                  <a:lnTo>
                    <a:pt x="2873" y="209"/>
                  </a:lnTo>
                  <a:lnTo>
                    <a:pt x="2733" y="137"/>
                  </a:lnTo>
                  <a:lnTo>
                    <a:pt x="2760" y="200"/>
                  </a:lnTo>
                  <a:lnTo>
                    <a:pt x="2725" y="209"/>
                  </a:lnTo>
                  <a:lnTo>
                    <a:pt x="2672" y="290"/>
                  </a:lnTo>
                  <a:lnTo>
                    <a:pt x="2656" y="228"/>
                  </a:lnTo>
                  <a:lnTo>
                    <a:pt x="2603" y="170"/>
                  </a:lnTo>
                  <a:lnTo>
                    <a:pt x="2573" y="228"/>
                  </a:lnTo>
                  <a:lnTo>
                    <a:pt x="2537" y="166"/>
                  </a:lnTo>
                  <a:lnTo>
                    <a:pt x="2494" y="145"/>
                  </a:lnTo>
                  <a:lnTo>
                    <a:pt x="2504" y="117"/>
                  </a:lnTo>
                  <a:lnTo>
                    <a:pt x="2535" y="117"/>
                  </a:lnTo>
                  <a:lnTo>
                    <a:pt x="2485" y="46"/>
                  </a:lnTo>
                  <a:lnTo>
                    <a:pt x="2413" y="0"/>
                  </a:lnTo>
                  <a:lnTo>
                    <a:pt x="2374" y="46"/>
                  </a:lnTo>
                  <a:lnTo>
                    <a:pt x="2367" y="119"/>
                  </a:lnTo>
                  <a:lnTo>
                    <a:pt x="2461" y="155"/>
                  </a:lnTo>
                  <a:lnTo>
                    <a:pt x="2469" y="212"/>
                  </a:lnTo>
                  <a:lnTo>
                    <a:pt x="2398" y="238"/>
                  </a:lnTo>
                  <a:lnTo>
                    <a:pt x="2407" y="290"/>
                  </a:lnTo>
                  <a:lnTo>
                    <a:pt x="2373" y="275"/>
                  </a:lnTo>
                  <a:lnTo>
                    <a:pt x="2362" y="244"/>
                  </a:lnTo>
                  <a:lnTo>
                    <a:pt x="2309" y="259"/>
                  </a:lnTo>
                  <a:lnTo>
                    <a:pt x="2175" y="266"/>
                  </a:lnTo>
                  <a:lnTo>
                    <a:pt x="2141" y="236"/>
                  </a:lnTo>
                  <a:lnTo>
                    <a:pt x="2046" y="188"/>
                  </a:lnTo>
                  <a:lnTo>
                    <a:pt x="1961" y="225"/>
                  </a:lnTo>
                  <a:lnTo>
                    <a:pt x="1989" y="236"/>
                  </a:lnTo>
                  <a:lnTo>
                    <a:pt x="2059" y="205"/>
                  </a:lnTo>
                  <a:lnTo>
                    <a:pt x="2012" y="297"/>
                  </a:lnTo>
                  <a:lnTo>
                    <a:pt x="1918" y="244"/>
                  </a:lnTo>
                  <a:lnTo>
                    <a:pt x="1736" y="247"/>
                  </a:lnTo>
                  <a:lnTo>
                    <a:pt x="1790" y="219"/>
                  </a:lnTo>
                  <a:lnTo>
                    <a:pt x="1670" y="193"/>
                  </a:lnTo>
                  <a:lnTo>
                    <a:pt x="1502" y="134"/>
                  </a:lnTo>
                  <a:lnTo>
                    <a:pt x="1440" y="166"/>
                  </a:lnTo>
                  <a:lnTo>
                    <a:pt x="1444" y="117"/>
                  </a:lnTo>
                  <a:lnTo>
                    <a:pt x="1400" y="166"/>
                  </a:lnTo>
                  <a:lnTo>
                    <a:pt x="1334" y="110"/>
                  </a:lnTo>
                  <a:lnTo>
                    <a:pt x="1226" y="174"/>
                  </a:lnTo>
                  <a:lnTo>
                    <a:pt x="1221" y="157"/>
                  </a:lnTo>
                  <a:lnTo>
                    <a:pt x="1107" y="183"/>
                  </a:lnTo>
                  <a:lnTo>
                    <a:pt x="1120" y="215"/>
                  </a:lnTo>
                  <a:lnTo>
                    <a:pt x="896" y="144"/>
                  </a:lnTo>
                  <a:lnTo>
                    <a:pt x="542" y="97"/>
                  </a:lnTo>
                  <a:lnTo>
                    <a:pt x="525" y="72"/>
                  </a:lnTo>
                  <a:lnTo>
                    <a:pt x="415" y="50"/>
                  </a:lnTo>
                  <a:lnTo>
                    <a:pt x="375" y="41"/>
                  </a:lnTo>
                  <a:lnTo>
                    <a:pt x="337" y="72"/>
                  </a:lnTo>
                  <a:lnTo>
                    <a:pt x="259" y="89"/>
                  </a:lnTo>
                  <a:lnTo>
                    <a:pt x="188" y="121"/>
                  </a:lnTo>
                  <a:lnTo>
                    <a:pt x="148" y="179"/>
                  </a:lnTo>
                  <a:lnTo>
                    <a:pt x="59" y="193"/>
                  </a:lnTo>
                  <a:lnTo>
                    <a:pt x="41" y="225"/>
                  </a:lnTo>
                  <a:lnTo>
                    <a:pt x="147" y="300"/>
                  </a:lnTo>
                  <a:lnTo>
                    <a:pt x="197" y="327"/>
                  </a:lnTo>
                  <a:lnTo>
                    <a:pt x="236" y="347"/>
                  </a:lnTo>
                  <a:lnTo>
                    <a:pt x="147" y="359"/>
                  </a:lnTo>
                  <a:lnTo>
                    <a:pt x="147" y="330"/>
                  </a:lnTo>
                  <a:lnTo>
                    <a:pt x="115" y="330"/>
                  </a:lnTo>
                  <a:lnTo>
                    <a:pt x="0" y="390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 dirty="0"/>
            </a:p>
          </p:txBody>
        </p:sp>
        <p:sp>
          <p:nvSpPr>
            <p:cNvPr id="148" name="Freeform 19"/>
            <p:cNvSpPr>
              <a:spLocks/>
            </p:cNvSpPr>
            <p:nvPr/>
          </p:nvSpPr>
          <p:spPr bwMode="auto">
            <a:xfrm>
              <a:off x="2403475" y="4330700"/>
              <a:ext cx="185737" cy="77788"/>
            </a:xfrm>
            <a:custGeom>
              <a:avLst/>
              <a:gdLst>
                <a:gd name="T0" fmla="*/ 0 w 350"/>
                <a:gd name="T1" fmla="*/ 8 h 119"/>
                <a:gd name="T2" fmla="*/ 5 w 350"/>
                <a:gd name="T3" fmla="*/ 1 h 119"/>
                <a:gd name="T4" fmla="*/ 15 w 350"/>
                <a:gd name="T5" fmla="*/ 0 h 119"/>
                <a:gd name="T6" fmla="*/ 39 w 350"/>
                <a:gd name="T7" fmla="*/ 18 h 119"/>
                <a:gd name="T8" fmla="*/ 26 w 350"/>
                <a:gd name="T9" fmla="*/ 20 h 119"/>
                <a:gd name="T10" fmla="*/ 22 w 350"/>
                <a:gd name="T11" fmla="*/ 9 h 119"/>
                <a:gd name="T12" fmla="*/ 10 w 350"/>
                <a:gd name="T13" fmla="*/ 6 h 119"/>
                <a:gd name="T14" fmla="*/ 0 w 350"/>
                <a:gd name="T15" fmla="*/ 8 h 1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0" h="119">
                  <a:moveTo>
                    <a:pt x="0" y="49"/>
                  </a:moveTo>
                  <a:lnTo>
                    <a:pt x="45" y="8"/>
                  </a:lnTo>
                  <a:lnTo>
                    <a:pt x="135" y="0"/>
                  </a:lnTo>
                  <a:lnTo>
                    <a:pt x="350" y="104"/>
                  </a:lnTo>
                  <a:lnTo>
                    <a:pt x="236" y="119"/>
                  </a:lnTo>
                  <a:lnTo>
                    <a:pt x="201" y="55"/>
                  </a:lnTo>
                  <a:lnTo>
                    <a:pt x="94" y="35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49" name="Freeform 20"/>
            <p:cNvSpPr>
              <a:spLocks/>
            </p:cNvSpPr>
            <p:nvPr/>
          </p:nvSpPr>
          <p:spPr bwMode="auto">
            <a:xfrm>
              <a:off x="2589213" y="4410075"/>
              <a:ext cx="103187" cy="42863"/>
            </a:xfrm>
            <a:custGeom>
              <a:avLst/>
              <a:gdLst>
                <a:gd name="T0" fmla="*/ 0 w 198"/>
                <a:gd name="T1" fmla="*/ 9 h 61"/>
                <a:gd name="T2" fmla="*/ 7 w 198"/>
                <a:gd name="T3" fmla="*/ 8 h 61"/>
                <a:gd name="T4" fmla="*/ 3 w 198"/>
                <a:gd name="T5" fmla="*/ 0 h 61"/>
                <a:gd name="T6" fmla="*/ 15 w 198"/>
                <a:gd name="T7" fmla="*/ 1 h 61"/>
                <a:gd name="T8" fmla="*/ 21 w 198"/>
                <a:gd name="T9" fmla="*/ 8 h 61"/>
                <a:gd name="T10" fmla="*/ 10 w 198"/>
                <a:gd name="T11" fmla="*/ 12 h 61"/>
                <a:gd name="T12" fmla="*/ 0 w 198"/>
                <a:gd name="T13" fmla="*/ 9 h 6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8" h="61">
                  <a:moveTo>
                    <a:pt x="0" y="45"/>
                  </a:moveTo>
                  <a:lnTo>
                    <a:pt x="65" y="41"/>
                  </a:lnTo>
                  <a:lnTo>
                    <a:pt x="31" y="0"/>
                  </a:lnTo>
                  <a:lnTo>
                    <a:pt x="144" y="5"/>
                  </a:lnTo>
                  <a:lnTo>
                    <a:pt x="198" y="38"/>
                  </a:lnTo>
                  <a:lnTo>
                    <a:pt x="87" y="61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0" name="Freeform 22"/>
            <p:cNvSpPr>
              <a:spLocks/>
            </p:cNvSpPr>
            <p:nvPr/>
          </p:nvSpPr>
          <p:spPr bwMode="auto">
            <a:xfrm>
              <a:off x="2852738" y="3589338"/>
              <a:ext cx="117475" cy="138113"/>
            </a:xfrm>
            <a:custGeom>
              <a:avLst/>
              <a:gdLst>
                <a:gd name="T0" fmla="*/ 0 w 218"/>
                <a:gd name="T1" fmla="*/ 29 h 213"/>
                <a:gd name="T2" fmla="*/ 10 w 218"/>
                <a:gd name="T3" fmla="*/ 2 h 213"/>
                <a:gd name="T4" fmla="*/ 14 w 218"/>
                <a:gd name="T5" fmla="*/ 0 h 213"/>
                <a:gd name="T6" fmla="*/ 13 w 218"/>
                <a:gd name="T7" fmla="*/ 11 h 213"/>
                <a:gd name="T8" fmla="*/ 15 w 218"/>
                <a:gd name="T9" fmla="*/ 18 h 213"/>
                <a:gd name="T10" fmla="*/ 22 w 218"/>
                <a:gd name="T11" fmla="*/ 17 h 213"/>
                <a:gd name="T12" fmla="*/ 24 w 218"/>
                <a:gd name="T13" fmla="*/ 26 h 213"/>
                <a:gd name="T14" fmla="*/ 25 w 218"/>
                <a:gd name="T15" fmla="*/ 31 h 213"/>
                <a:gd name="T16" fmla="*/ 20 w 218"/>
                <a:gd name="T17" fmla="*/ 36 h 213"/>
                <a:gd name="T18" fmla="*/ 20 w 218"/>
                <a:gd name="T19" fmla="*/ 28 h 213"/>
                <a:gd name="T20" fmla="*/ 12 w 218"/>
                <a:gd name="T21" fmla="*/ 31 h 213"/>
                <a:gd name="T22" fmla="*/ 0 w 218"/>
                <a:gd name="T23" fmla="*/ 29 h 2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8" h="213">
                  <a:moveTo>
                    <a:pt x="0" y="172"/>
                  </a:moveTo>
                  <a:lnTo>
                    <a:pt x="87" y="15"/>
                  </a:lnTo>
                  <a:lnTo>
                    <a:pt x="125" y="0"/>
                  </a:lnTo>
                  <a:lnTo>
                    <a:pt x="109" y="69"/>
                  </a:lnTo>
                  <a:lnTo>
                    <a:pt x="133" y="110"/>
                  </a:lnTo>
                  <a:lnTo>
                    <a:pt x="191" y="104"/>
                  </a:lnTo>
                  <a:lnTo>
                    <a:pt x="211" y="155"/>
                  </a:lnTo>
                  <a:lnTo>
                    <a:pt x="218" y="188"/>
                  </a:lnTo>
                  <a:lnTo>
                    <a:pt x="171" y="213"/>
                  </a:lnTo>
                  <a:lnTo>
                    <a:pt x="171" y="169"/>
                  </a:lnTo>
                  <a:lnTo>
                    <a:pt x="104" y="185"/>
                  </a:lnTo>
                  <a:lnTo>
                    <a:pt x="0" y="172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1" name="Freeform 23"/>
            <p:cNvSpPr>
              <a:spLocks/>
            </p:cNvSpPr>
            <p:nvPr/>
          </p:nvSpPr>
          <p:spPr bwMode="auto">
            <a:xfrm>
              <a:off x="1174750" y="3394075"/>
              <a:ext cx="46037" cy="33338"/>
            </a:xfrm>
            <a:custGeom>
              <a:avLst/>
              <a:gdLst>
                <a:gd name="T0" fmla="*/ 0 w 87"/>
                <a:gd name="T1" fmla="*/ 4 h 50"/>
                <a:gd name="T2" fmla="*/ 3 w 87"/>
                <a:gd name="T3" fmla="*/ 9 h 50"/>
                <a:gd name="T4" fmla="*/ 10 w 87"/>
                <a:gd name="T5" fmla="*/ 2 h 50"/>
                <a:gd name="T6" fmla="*/ 3 w 87"/>
                <a:gd name="T7" fmla="*/ 0 h 50"/>
                <a:gd name="T8" fmla="*/ 4 w 87"/>
                <a:gd name="T9" fmla="*/ 4 h 50"/>
                <a:gd name="T10" fmla="*/ 0 w 87"/>
                <a:gd name="T11" fmla="*/ 4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7" h="50">
                  <a:moveTo>
                    <a:pt x="0" y="23"/>
                  </a:moveTo>
                  <a:lnTo>
                    <a:pt x="25" y="50"/>
                  </a:lnTo>
                  <a:lnTo>
                    <a:pt x="87" y="11"/>
                  </a:lnTo>
                  <a:lnTo>
                    <a:pt x="31" y="0"/>
                  </a:lnTo>
                  <a:lnTo>
                    <a:pt x="33" y="21"/>
                  </a:lnTo>
                  <a:lnTo>
                    <a:pt x="0" y="2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2" name="Freeform 24"/>
            <p:cNvSpPr>
              <a:spLocks/>
            </p:cNvSpPr>
            <p:nvPr/>
          </p:nvSpPr>
          <p:spPr bwMode="auto">
            <a:xfrm>
              <a:off x="3462338" y="3094038"/>
              <a:ext cx="193675" cy="112713"/>
            </a:xfrm>
            <a:custGeom>
              <a:avLst/>
              <a:gdLst>
                <a:gd name="T0" fmla="*/ 0 w 365"/>
                <a:gd name="T1" fmla="*/ 10 h 176"/>
                <a:gd name="T2" fmla="*/ 5 w 365"/>
                <a:gd name="T3" fmla="*/ 0 h 176"/>
                <a:gd name="T4" fmla="*/ 12 w 365"/>
                <a:gd name="T5" fmla="*/ 12 h 176"/>
                <a:gd name="T6" fmla="*/ 23 w 365"/>
                <a:gd name="T7" fmla="*/ 3 h 176"/>
                <a:gd name="T8" fmla="*/ 37 w 365"/>
                <a:gd name="T9" fmla="*/ 1 h 176"/>
                <a:gd name="T10" fmla="*/ 41 w 365"/>
                <a:gd name="T11" fmla="*/ 13 h 176"/>
                <a:gd name="T12" fmla="*/ 20 w 365"/>
                <a:gd name="T13" fmla="*/ 29 h 176"/>
                <a:gd name="T14" fmla="*/ 7 w 365"/>
                <a:gd name="T15" fmla="*/ 25 h 176"/>
                <a:gd name="T16" fmla="*/ 0 w 365"/>
                <a:gd name="T17" fmla="*/ 10 h 17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65" h="176">
                  <a:moveTo>
                    <a:pt x="0" y="61"/>
                  </a:moveTo>
                  <a:lnTo>
                    <a:pt x="48" y="0"/>
                  </a:lnTo>
                  <a:lnTo>
                    <a:pt x="109" y="73"/>
                  </a:lnTo>
                  <a:lnTo>
                    <a:pt x="208" y="18"/>
                  </a:lnTo>
                  <a:lnTo>
                    <a:pt x="329" y="7"/>
                  </a:lnTo>
                  <a:lnTo>
                    <a:pt x="365" y="80"/>
                  </a:lnTo>
                  <a:lnTo>
                    <a:pt x="182" y="176"/>
                  </a:lnTo>
                  <a:lnTo>
                    <a:pt x="64" y="155"/>
                  </a:lnTo>
                  <a:lnTo>
                    <a:pt x="0" y="61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3" name="Freeform 25"/>
            <p:cNvSpPr>
              <a:spLocks/>
            </p:cNvSpPr>
            <p:nvPr/>
          </p:nvSpPr>
          <p:spPr bwMode="auto">
            <a:xfrm>
              <a:off x="2360613" y="3119438"/>
              <a:ext cx="112712" cy="95250"/>
            </a:xfrm>
            <a:custGeom>
              <a:avLst/>
              <a:gdLst>
                <a:gd name="T0" fmla="*/ 0 w 208"/>
                <a:gd name="T1" fmla="*/ 20 h 150"/>
                <a:gd name="T2" fmla="*/ 4 w 208"/>
                <a:gd name="T3" fmla="*/ 15 h 150"/>
                <a:gd name="T4" fmla="*/ 6 w 208"/>
                <a:gd name="T5" fmla="*/ 0 h 150"/>
                <a:gd name="T6" fmla="*/ 24 w 208"/>
                <a:gd name="T7" fmla="*/ 21 h 150"/>
                <a:gd name="T8" fmla="*/ 8 w 208"/>
                <a:gd name="T9" fmla="*/ 24 h 150"/>
                <a:gd name="T10" fmla="*/ 0 w 208"/>
                <a:gd name="T11" fmla="*/ 20 h 1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8" h="150">
                  <a:moveTo>
                    <a:pt x="0" y="125"/>
                  </a:moveTo>
                  <a:lnTo>
                    <a:pt x="34" y="95"/>
                  </a:lnTo>
                  <a:lnTo>
                    <a:pt x="56" y="0"/>
                  </a:lnTo>
                  <a:lnTo>
                    <a:pt x="208" y="131"/>
                  </a:lnTo>
                  <a:lnTo>
                    <a:pt x="66" y="150"/>
                  </a:lnTo>
                  <a:lnTo>
                    <a:pt x="0" y="125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4" name="Freeform 26"/>
            <p:cNvSpPr>
              <a:spLocks/>
            </p:cNvSpPr>
            <p:nvPr/>
          </p:nvSpPr>
          <p:spPr bwMode="auto">
            <a:xfrm>
              <a:off x="1684338" y="2767013"/>
              <a:ext cx="185737" cy="146050"/>
            </a:xfrm>
            <a:custGeom>
              <a:avLst/>
              <a:gdLst>
                <a:gd name="T0" fmla="*/ 0 w 350"/>
                <a:gd name="T1" fmla="*/ 28 h 226"/>
                <a:gd name="T2" fmla="*/ 8 w 350"/>
                <a:gd name="T3" fmla="*/ 9 h 226"/>
                <a:gd name="T4" fmla="*/ 5 w 350"/>
                <a:gd name="T5" fmla="*/ 2 h 226"/>
                <a:gd name="T6" fmla="*/ 16 w 350"/>
                <a:gd name="T7" fmla="*/ 0 h 226"/>
                <a:gd name="T8" fmla="*/ 25 w 350"/>
                <a:gd name="T9" fmla="*/ 6 h 226"/>
                <a:gd name="T10" fmla="*/ 30 w 350"/>
                <a:gd name="T11" fmla="*/ 4 h 226"/>
                <a:gd name="T12" fmla="*/ 39 w 350"/>
                <a:gd name="T13" fmla="*/ 11 h 226"/>
                <a:gd name="T14" fmla="*/ 21 w 350"/>
                <a:gd name="T15" fmla="*/ 26 h 226"/>
                <a:gd name="T16" fmla="*/ 19 w 350"/>
                <a:gd name="T17" fmla="*/ 34 h 226"/>
                <a:gd name="T18" fmla="*/ 11 w 350"/>
                <a:gd name="T19" fmla="*/ 37 h 226"/>
                <a:gd name="T20" fmla="*/ 0 w 350"/>
                <a:gd name="T21" fmla="*/ 28 h 2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50" h="226">
                  <a:moveTo>
                    <a:pt x="0" y="173"/>
                  </a:moveTo>
                  <a:lnTo>
                    <a:pt x="69" y="53"/>
                  </a:lnTo>
                  <a:lnTo>
                    <a:pt x="42" y="12"/>
                  </a:lnTo>
                  <a:lnTo>
                    <a:pt x="147" y="0"/>
                  </a:lnTo>
                  <a:lnTo>
                    <a:pt x="220" y="37"/>
                  </a:lnTo>
                  <a:lnTo>
                    <a:pt x="271" y="24"/>
                  </a:lnTo>
                  <a:lnTo>
                    <a:pt x="350" y="66"/>
                  </a:lnTo>
                  <a:lnTo>
                    <a:pt x="188" y="156"/>
                  </a:lnTo>
                  <a:lnTo>
                    <a:pt x="173" y="203"/>
                  </a:lnTo>
                  <a:lnTo>
                    <a:pt x="98" y="226"/>
                  </a:lnTo>
                  <a:lnTo>
                    <a:pt x="0" y="17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5" name="Freeform 27"/>
            <p:cNvSpPr>
              <a:spLocks/>
            </p:cNvSpPr>
            <p:nvPr/>
          </p:nvSpPr>
          <p:spPr bwMode="auto">
            <a:xfrm>
              <a:off x="1806575" y="2820988"/>
              <a:ext cx="315912" cy="196850"/>
            </a:xfrm>
            <a:custGeom>
              <a:avLst/>
              <a:gdLst>
                <a:gd name="T0" fmla="*/ 0 w 599"/>
                <a:gd name="T1" fmla="*/ 15 h 307"/>
                <a:gd name="T2" fmla="*/ 10 w 599"/>
                <a:gd name="T3" fmla="*/ 2 h 307"/>
                <a:gd name="T4" fmla="*/ 25 w 599"/>
                <a:gd name="T5" fmla="*/ 11 h 307"/>
                <a:gd name="T6" fmla="*/ 40 w 599"/>
                <a:gd name="T7" fmla="*/ 0 h 307"/>
                <a:gd name="T8" fmla="*/ 50 w 599"/>
                <a:gd name="T9" fmla="*/ 5 h 307"/>
                <a:gd name="T10" fmla="*/ 53 w 599"/>
                <a:gd name="T11" fmla="*/ 23 h 307"/>
                <a:gd name="T12" fmla="*/ 66 w 599"/>
                <a:gd name="T13" fmla="*/ 34 h 307"/>
                <a:gd name="T14" fmla="*/ 59 w 599"/>
                <a:gd name="T15" fmla="*/ 47 h 307"/>
                <a:gd name="T16" fmla="*/ 45 w 599"/>
                <a:gd name="T17" fmla="*/ 40 h 307"/>
                <a:gd name="T18" fmla="*/ 21 w 599"/>
                <a:gd name="T19" fmla="*/ 50 h 307"/>
                <a:gd name="T20" fmla="*/ 6 w 599"/>
                <a:gd name="T21" fmla="*/ 34 h 307"/>
                <a:gd name="T22" fmla="*/ 5 w 599"/>
                <a:gd name="T23" fmla="*/ 28 h 307"/>
                <a:gd name="T24" fmla="*/ 12 w 599"/>
                <a:gd name="T25" fmla="*/ 19 h 307"/>
                <a:gd name="T26" fmla="*/ 3 w 599"/>
                <a:gd name="T27" fmla="*/ 21 h 307"/>
                <a:gd name="T28" fmla="*/ 0 w 599"/>
                <a:gd name="T29" fmla="*/ 15 h 3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9" h="307">
                  <a:moveTo>
                    <a:pt x="0" y="94"/>
                  </a:moveTo>
                  <a:lnTo>
                    <a:pt x="88" y="13"/>
                  </a:lnTo>
                  <a:lnTo>
                    <a:pt x="229" y="66"/>
                  </a:lnTo>
                  <a:lnTo>
                    <a:pt x="359" y="0"/>
                  </a:lnTo>
                  <a:lnTo>
                    <a:pt x="448" y="33"/>
                  </a:lnTo>
                  <a:lnTo>
                    <a:pt x="479" y="144"/>
                  </a:lnTo>
                  <a:lnTo>
                    <a:pt x="599" y="205"/>
                  </a:lnTo>
                  <a:lnTo>
                    <a:pt x="533" y="287"/>
                  </a:lnTo>
                  <a:lnTo>
                    <a:pt x="409" y="243"/>
                  </a:lnTo>
                  <a:lnTo>
                    <a:pt x="188" y="307"/>
                  </a:lnTo>
                  <a:lnTo>
                    <a:pt x="52" y="209"/>
                  </a:lnTo>
                  <a:lnTo>
                    <a:pt x="49" y="173"/>
                  </a:lnTo>
                  <a:lnTo>
                    <a:pt x="112" y="116"/>
                  </a:lnTo>
                  <a:lnTo>
                    <a:pt x="29" y="127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6" name="Freeform 28"/>
            <p:cNvSpPr>
              <a:spLocks/>
            </p:cNvSpPr>
            <p:nvPr/>
          </p:nvSpPr>
          <p:spPr bwMode="auto">
            <a:xfrm>
              <a:off x="4648200" y="5133975"/>
              <a:ext cx="123825" cy="311150"/>
            </a:xfrm>
            <a:custGeom>
              <a:avLst/>
              <a:gdLst>
                <a:gd name="T0" fmla="*/ 0 w 235"/>
                <a:gd name="T1" fmla="*/ 56 h 487"/>
                <a:gd name="T2" fmla="*/ 2 w 235"/>
                <a:gd name="T3" fmla="*/ 72 h 487"/>
                <a:gd name="T4" fmla="*/ 7 w 235"/>
                <a:gd name="T5" fmla="*/ 79 h 487"/>
                <a:gd name="T6" fmla="*/ 15 w 235"/>
                <a:gd name="T7" fmla="*/ 72 h 487"/>
                <a:gd name="T8" fmla="*/ 26 w 235"/>
                <a:gd name="T9" fmla="*/ 20 h 487"/>
                <a:gd name="T10" fmla="*/ 22 w 235"/>
                <a:gd name="T11" fmla="*/ 0 h 487"/>
                <a:gd name="T12" fmla="*/ 3 w 235"/>
                <a:gd name="T13" fmla="*/ 31 h 487"/>
                <a:gd name="T14" fmla="*/ 5 w 235"/>
                <a:gd name="T15" fmla="*/ 44 h 487"/>
                <a:gd name="T16" fmla="*/ 0 w 235"/>
                <a:gd name="T17" fmla="*/ 56 h 48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35" h="487">
                  <a:moveTo>
                    <a:pt x="0" y="347"/>
                  </a:moveTo>
                  <a:lnTo>
                    <a:pt x="22" y="445"/>
                  </a:lnTo>
                  <a:lnTo>
                    <a:pt x="67" y="487"/>
                  </a:lnTo>
                  <a:lnTo>
                    <a:pt x="136" y="445"/>
                  </a:lnTo>
                  <a:lnTo>
                    <a:pt x="235" y="125"/>
                  </a:lnTo>
                  <a:lnTo>
                    <a:pt x="195" y="0"/>
                  </a:lnTo>
                  <a:lnTo>
                    <a:pt x="23" y="192"/>
                  </a:lnTo>
                  <a:lnTo>
                    <a:pt x="41" y="274"/>
                  </a:lnTo>
                  <a:lnTo>
                    <a:pt x="0" y="347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7" name="Freeform 29"/>
            <p:cNvSpPr>
              <a:spLocks/>
            </p:cNvSpPr>
            <p:nvPr/>
          </p:nvSpPr>
          <p:spPr bwMode="auto">
            <a:xfrm>
              <a:off x="5891213" y="5099050"/>
              <a:ext cx="695325" cy="676275"/>
            </a:xfrm>
            <a:custGeom>
              <a:avLst/>
              <a:gdLst>
                <a:gd name="T0" fmla="*/ 0 w 1316"/>
                <a:gd name="T1" fmla="*/ 94 h 1052"/>
                <a:gd name="T2" fmla="*/ 1 w 1316"/>
                <a:gd name="T3" fmla="*/ 70 h 1052"/>
                <a:gd name="T4" fmla="*/ 11 w 1316"/>
                <a:gd name="T5" fmla="*/ 58 h 1052"/>
                <a:gd name="T6" fmla="*/ 26 w 1316"/>
                <a:gd name="T7" fmla="*/ 53 h 1052"/>
                <a:gd name="T8" fmla="*/ 31 w 1316"/>
                <a:gd name="T9" fmla="*/ 37 h 1052"/>
                <a:gd name="T10" fmla="*/ 45 w 1316"/>
                <a:gd name="T11" fmla="*/ 19 h 1052"/>
                <a:gd name="T12" fmla="*/ 54 w 1316"/>
                <a:gd name="T13" fmla="*/ 24 h 1052"/>
                <a:gd name="T14" fmla="*/ 60 w 1316"/>
                <a:gd name="T15" fmla="*/ 13 h 1052"/>
                <a:gd name="T16" fmla="*/ 66 w 1316"/>
                <a:gd name="T17" fmla="*/ 3 h 1052"/>
                <a:gd name="T18" fmla="*/ 83 w 1316"/>
                <a:gd name="T19" fmla="*/ 10 h 1052"/>
                <a:gd name="T20" fmla="*/ 80 w 1316"/>
                <a:gd name="T21" fmla="*/ 26 h 1052"/>
                <a:gd name="T22" fmla="*/ 96 w 1316"/>
                <a:gd name="T23" fmla="*/ 42 h 1052"/>
                <a:gd name="T24" fmla="*/ 101 w 1316"/>
                <a:gd name="T25" fmla="*/ 35 h 1052"/>
                <a:gd name="T26" fmla="*/ 103 w 1316"/>
                <a:gd name="T27" fmla="*/ 8 h 1052"/>
                <a:gd name="T28" fmla="*/ 107 w 1316"/>
                <a:gd name="T29" fmla="*/ 0 h 1052"/>
                <a:gd name="T30" fmla="*/ 115 w 1316"/>
                <a:gd name="T31" fmla="*/ 26 h 1052"/>
                <a:gd name="T32" fmla="*/ 119 w 1316"/>
                <a:gd name="T33" fmla="*/ 49 h 1052"/>
                <a:gd name="T34" fmla="*/ 129 w 1316"/>
                <a:gd name="T35" fmla="*/ 57 h 1052"/>
                <a:gd name="T36" fmla="*/ 136 w 1316"/>
                <a:gd name="T37" fmla="*/ 76 h 1052"/>
                <a:gd name="T38" fmla="*/ 143 w 1316"/>
                <a:gd name="T39" fmla="*/ 86 h 1052"/>
                <a:gd name="T40" fmla="*/ 146 w 1316"/>
                <a:gd name="T41" fmla="*/ 105 h 1052"/>
                <a:gd name="T42" fmla="*/ 144 w 1316"/>
                <a:gd name="T43" fmla="*/ 123 h 1052"/>
                <a:gd name="T44" fmla="*/ 138 w 1316"/>
                <a:gd name="T45" fmla="*/ 138 h 1052"/>
                <a:gd name="T46" fmla="*/ 133 w 1316"/>
                <a:gd name="T47" fmla="*/ 164 h 1052"/>
                <a:gd name="T48" fmla="*/ 119 w 1316"/>
                <a:gd name="T49" fmla="*/ 172 h 1052"/>
                <a:gd name="T50" fmla="*/ 114 w 1316"/>
                <a:gd name="T51" fmla="*/ 166 h 1052"/>
                <a:gd name="T52" fmla="*/ 109 w 1316"/>
                <a:gd name="T53" fmla="*/ 173 h 1052"/>
                <a:gd name="T54" fmla="*/ 96 w 1316"/>
                <a:gd name="T55" fmla="*/ 163 h 1052"/>
                <a:gd name="T56" fmla="*/ 94 w 1316"/>
                <a:gd name="T57" fmla="*/ 149 h 1052"/>
                <a:gd name="T58" fmla="*/ 88 w 1316"/>
                <a:gd name="T59" fmla="*/ 132 h 1052"/>
                <a:gd name="T60" fmla="*/ 81 w 1316"/>
                <a:gd name="T61" fmla="*/ 147 h 1052"/>
                <a:gd name="T62" fmla="*/ 75 w 1316"/>
                <a:gd name="T63" fmla="*/ 132 h 1052"/>
                <a:gd name="T64" fmla="*/ 64 w 1316"/>
                <a:gd name="T65" fmla="*/ 126 h 1052"/>
                <a:gd name="T66" fmla="*/ 44 w 1316"/>
                <a:gd name="T67" fmla="*/ 130 h 1052"/>
                <a:gd name="T68" fmla="*/ 36 w 1316"/>
                <a:gd name="T69" fmla="*/ 139 h 1052"/>
                <a:gd name="T70" fmla="*/ 22 w 1316"/>
                <a:gd name="T71" fmla="*/ 140 h 1052"/>
                <a:gd name="T72" fmla="*/ 15 w 1316"/>
                <a:gd name="T73" fmla="*/ 147 h 1052"/>
                <a:gd name="T74" fmla="*/ 5 w 1316"/>
                <a:gd name="T75" fmla="*/ 142 h 1052"/>
                <a:gd name="T76" fmla="*/ 7 w 1316"/>
                <a:gd name="T77" fmla="*/ 126 h 1052"/>
                <a:gd name="T78" fmla="*/ 0 w 1316"/>
                <a:gd name="T79" fmla="*/ 94 h 105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316" h="1052">
                  <a:moveTo>
                    <a:pt x="0" y="573"/>
                  </a:moveTo>
                  <a:lnTo>
                    <a:pt x="6" y="426"/>
                  </a:lnTo>
                  <a:lnTo>
                    <a:pt x="95" y="354"/>
                  </a:lnTo>
                  <a:lnTo>
                    <a:pt x="236" y="322"/>
                  </a:lnTo>
                  <a:lnTo>
                    <a:pt x="278" y="228"/>
                  </a:lnTo>
                  <a:lnTo>
                    <a:pt x="403" y="119"/>
                  </a:lnTo>
                  <a:lnTo>
                    <a:pt x="484" y="148"/>
                  </a:lnTo>
                  <a:lnTo>
                    <a:pt x="544" y="76"/>
                  </a:lnTo>
                  <a:lnTo>
                    <a:pt x="597" y="19"/>
                  </a:lnTo>
                  <a:lnTo>
                    <a:pt x="749" y="60"/>
                  </a:lnTo>
                  <a:lnTo>
                    <a:pt x="721" y="157"/>
                  </a:lnTo>
                  <a:lnTo>
                    <a:pt x="867" y="255"/>
                  </a:lnTo>
                  <a:lnTo>
                    <a:pt x="910" y="213"/>
                  </a:lnTo>
                  <a:lnTo>
                    <a:pt x="924" y="49"/>
                  </a:lnTo>
                  <a:lnTo>
                    <a:pt x="960" y="0"/>
                  </a:lnTo>
                  <a:lnTo>
                    <a:pt x="1043" y="157"/>
                  </a:lnTo>
                  <a:lnTo>
                    <a:pt x="1080" y="300"/>
                  </a:lnTo>
                  <a:lnTo>
                    <a:pt x="1162" y="346"/>
                  </a:lnTo>
                  <a:lnTo>
                    <a:pt x="1226" y="465"/>
                  </a:lnTo>
                  <a:lnTo>
                    <a:pt x="1291" y="524"/>
                  </a:lnTo>
                  <a:lnTo>
                    <a:pt x="1316" y="640"/>
                  </a:lnTo>
                  <a:lnTo>
                    <a:pt x="1299" y="748"/>
                  </a:lnTo>
                  <a:lnTo>
                    <a:pt x="1243" y="841"/>
                  </a:lnTo>
                  <a:lnTo>
                    <a:pt x="1199" y="1002"/>
                  </a:lnTo>
                  <a:lnTo>
                    <a:pt x="1077" y="1047"/>
                  </a:lnTo>
                  <a:lnTo>
                    <a:pt x="1029" y="1012"/>
                  </a:lnTo>
                  <a:lnTo>
                    <a:pt x="979" y="1052"/>
                  </a:lnTo>
                  <a:lnTo>
                    <a:pt x="864" y="996"/>
                  </a:lnTo>
                  <a:lnTo>
                    <a:pt x="846" y="912"/>
                  </a:lnTo>
                  <a:lnTo>
                    <a:pt x="792" y="802"/>
                  </a:lnTo>
                  <a:lnTo>
                    <a:pt x="733" y="899"/>
                  </a:lnTo>
                  <a:lnTo>
                    <a:pt x="676" y="802"/>
                  </a:lnTo>
                  <a:lnTo>
                    <a:pt x="578" y="766"/>
                  </a:lnTo>
                  <a:lnTo>
                    <a:pt x="401" y="792"/>
                  </a:lnTo>
                  <a:lnTo>
                    <a:pt x="326" y="848"/>
                  </a:lnTo>
                  <a:lnTo>
                    <a:pt x="202" y="853"/>
                  </a:lnTo>
                  <a:lnTo>
                    <a:pt x="135" y="899"/>
                  </a:lnTo>
                  <a:lnTo>
                    <a:pt x="41" y="866"/>
                  </a:lnTo>
                  <a:lnTo>
                    <a:pt x="64" y="768"/>
                  </a:lnTo>
                  <a:lnTo>
                    <a:pt x="0" y="57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8" name="Freeform 30"/>
            <p:cNvSpPr>
              <a:spLocks/>
            </p:cNvSpPr>
            <p:nvPr/>
          </p:nvSpPr>
          <p:spPr bwMode="auto">
            <a:xfrm>
              <a:off x="6434138" y="5821363"/>
              <a:ext cx="61912" cy="80963"/>
            </a:xfrm>
            <a:custGeom>
              <a:avLst/>
              <a:gdLst>
                <a:gd name="T0" fmla="*/ 0 w 117"/>
                <a:gd name="T1" fmla="*/ 4 h 122"/>
                <a:gd name="T2" fmla="*/ 0 w 117"/>
                <a:gd name="T3" fmla="*/ 0 h 122"/>
                <a:gd name="T4" fmla="*/ 11 w 117"/>
                <a:gd name="T5" fmla="*/ 1 h 122"/>
                <a:gd name="T6" fmla="*/ 13 w 117"/>
                <a:gd name="T7" fmla="*/ 12 h 122"/>
                <a:gd name="T8" fmla="*/ 8 w 117"/>
                <a:gd name="T9" fmla="*/ 21 h 122"/>
                <a:gd name="T10" fmla="*/ 0 w 117"/>
                <a:gd name="T11" fmla="*/ 4 h 1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7" h="122">
                  <a:moveTo>
                    <a:pt x="0" y="24"/>
                  </a:moveTo>
                  <a:lnTo>
                    <a:pt x="1" y="0"/>
                  </a:lnTo>
                  <a:lnTo>
                    <a:pt x="103" y="7"/>
                  </a:lnTo>
                  <a:lnTo>
                    <a:pt x="117" y="68"/>
                  </a:lnTo>
                  <a:lnTo>
                    <a:pt x="68" y="122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59" name="Freeform 31"/>
            <p:cNvSpPr>
              <a:spLocks/>
            </p:cNvSpPr>
            <p:nvPr/>
          </p:nvSpPr>
          <p:spPr bwMode="auto">
            <a:xfrm>
              <a:off x="6813550" y="5821363"/>
              <a:ext cx="136525" cy="168275"/>
            </a:xfrm>
            <a:custGeom>
              <a:avLst/>
              <a:gdLst>
                <a:gd name="T0" fmla="*/ 0 w 255"/>
                <a:gd name="T1" fmla="*/ 37 h 259"/>
                <a:gd name="T2" fmla="*/ 6 w 255"/>
                <a:gd name="T3" fmla="*/ 25 h 259"/>
                <a:gd name="T4" fmla="*/ 17 w 255"/>
                <a:gd name="T5" fmla="*/ 15 h 259"/>
                <a:gd name="T6" fmla="*/ 22 w 255"/>
                <a:gd name="T7" fmla="*/ 0 h 259"/>
                <a:gd name="T8" fmla="*/ 29 w 255"/>
                <a:gd name="T9" fmla="*/ 8 h 259"/>
                <a:gd name="T10" fmla="*/ 25 w 255"/>
                <a:gd name="T11" fmla="*/ 23 h 259"/>
                <a:gd name="T12" fmla="*/ 19 w 255"/>
                <a:gd name="T13" fmla="*/ 24 h 259"/>
                <a:gd name="T14" fmla="*/ 9 w 255"/>
                <a:gd name="T15" fmla="*/ 43 h 259"/>
                <a:gd name="T16" fmla="*/ 0 w 255"/>
                <a:gd name="T17" fmla="*/ 37 h 2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55" h="259">
                  <a:moveTo>
                    <a:pt x="0" y="223"/>
                  </a:moveTo>
                  <a:lnTo>
                    <a:pt x="57" y="146"/>
                  </a:lnTo>
                  <a:lnTo>
                    <a:pt x="149" y="87"/>
                  </a:lnTo>
                  <a:lnTo>
                    <a:pt x="195" y="0"/>
                  </a:lnTo>
                  <a:lnTo>
                    <a:pt x="255" y="46"/>
                  </a:lnTo>
                  <a:lnTo>
                    <a:pt x="219" y="135"/>
                  </a:lnTo>
                  <a:lnTo>
                    <a:pt x="164" y="142"/>
                  </a:lnTo>
                  <a:lnTo>
                    <a:pt x="82" y="259"/>
                  </a:lnTo>
                  <a:lnTo>
                    <a:pt x="0" y="22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0" name="Freeform 32"/>
            <p:cNvSpPr>
              <a:spLocks/>
            </p:cNvSpPr>
            <p:nvPr/>
          </p:nvSpPr>
          <p:spPr bwMode="auto">
            <a:xfrm>
              <a:off x="6921500" y="5661025"/>
              <a:ext cx="100012" cy="179388"/>
            </a:xfrm>
            <a:custGeom>
              <a:avLst/>
              <a:gdLst>
                <a:gd name="T0" fmla="*/ 0 w 189"/>
                <a:gd name="T1" fmla="*/ 0 h 280"/>
                <a:gd name="T2" fmla="*/ 12 w 189"/>
                <a:gd name="T3" fmla="*/ 16 h 280"/>
                <a:gd name="T4" fmla="*/ 21 w 189"/>
                <a:gd name="T5" fmla="*/ 21 h 280"/>
                <a:gd name="T6" fmla="*/ 20 w 189"/>
                <a:gd name="T7" fmla="*/ 31 h 280"/>
                <a:gd name="T8" fmla="*/ 12 w 189"/>
                <a:gd name="T9" fmla="*/ 46 h 280"/>
                <a:gd name="T10" fmla="*/ 4 w 189"/>
                <a:gd name="T11" fmla="*/ 32 h 280"/>
                <a:gd name="T12" fmla="*/ 8 w 189"/>
                <a:gd name="T13" fmla="*/ 23 h 280"/>
                <a:gd name="T14" fmla="*/ 8 w 189"/>
                <a:gd name="T15" fmla="*/ 17 h 280"/>
                <a:gd name="T16" fmla="*/ 0 w 189"/>
                <a:gd name="T17" fmla="*/ 0 h 2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9" h="280">
                  <a:moveTo>
                    <a:pt x="0" y="0"/>
                  </a:moveTo>
                  <a:lnTo>
                    <a:pt x="108" y="100"/>
                  </a:lnTo>
                  <a:lnTo>
                    <a:pt x="189" y="127"/>
                  </a:lnTo>
                  <a:lnTo>
                    <a:pt x="176" y="191"/>
                  </a:lnTo>
                  <a:lnTo>
                    <a:pt x="106" y="280"/>
                  </a:lnTo>
                  <a:lnTo>
                    <a:pt x="34" y="198"/>
                  </a:lnTo>
                  <a:lnTo>
                    <a:pt x="75" y="144"/>
                  </a:lnTo>
                  <a:lnTo>
                    <a:pt x="70" y="10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1" name="Freeform 33"/>
            <p:cNvSpPr>
              <a:spLocks/>
            </p:cNvSpPr>
            <p:nvPr/>
          </p:nvSpPr>
          <p:spPr bwMode="auto">
            <a:xfrm>
              <a:off x="3589338" y="3987800"/>
              <a:ext cx="1206500" cy="1673225"/>
            </a:xfrm>
            <a:custGeom>
              <a:avLst/>
              <a:gdLst>
                <a:gd name="T0" fmla="*/ 8 w 2281"/>
                <a:gd name="T1" fmla="*/ 155 h 2600"/>
                <a:gd name="T2" fmla="*/ 9 w 2281"/>
                <a:gd name="T3" fmla="*/ 159 h 2600"/>
                <a:gd name="T4" fmla="*/ 16 w 2281"/>
                <a:gd name="T5" fmla="*/ 170 h 2600"/>
                <a:gd name="T6" fmla="*/ 23 w 2281"/>
                <a:gd name="T7" fmla="*/ 182 h 2600"/>
                <a:gd name="T8" fmla="*/ 37 w 2281"/>
                <a:gd name="T9" fmla="*/ 197 h 2600"/>
                <a:gd name="T10" fmla="*/ 57 w 2281"/>
                <a:gd name="T11" fmla="*/ 195 h 2600"/>
                <a:gd name="T12" fmla="*/ 82 w 2281"/>
                <a:gd name="T13" fmla="*/ 187 h 2600"/>
                <a:gd name="T14" fmla="*/ 87 w 2281"/>
                <a:gd name="T15" fmla="*/ 198 h 2600"/>
                <a:gd name="T16" fmla="*/ 95 w 2281"/>
                <a:gd name="T17" fmla="*/ 195 h 2600"/>
                <a:gd name="T18" fmla="*/ 97 w 2281"/>
                <a:gd name="T19" fmla="*/ 226 h 2600"/>
                <a:gd name="T20" fmla="*/ 108 w 2281"/>
                <a:gd name="T21" fmla="*/ 251 h 2600"/>
                <a:gd name="T22" fmla="*/ 115 w 2281"/>
                <a:gd name="T23" fmla="*/ 285 h 2600"/>
                <a:gd name="T24" fmla="*/ 107 w 2281"/>
                <a:gd name="T25" fmla="*/ 322 h 2600"/>
                <a:gd name="T26" fmla="*/ 118 w 2281"/>
                <a:gd name="T27" fmla="*/ 354 h 2600"/>
                <a:gd name="T28" fmla="*/ 120 w 2281"/>
                <a:gd name="T29" fmla="*/ 383 h 2600"/>
                <a:gd name="T30" fmla="*/ 132 w 2281"/>
                <a:gd name="T31" fmla="*/ 427 h 2600"/>
                <a:gd name="T32" fmla="*/ 164 w 2281"/>
                <a:gd name="T33" fmla="*/ 421 h 2600"/>
                <a:gd name="T34" fmla="*/ 184 w 2281"/>
                <a:gd name="T35" fmla="*/ 390 h 2600"/>
                <a:gd name="T36" fmla="*/ 185 w 2281"/>
                <a:gd name="T37" fmla="*/ 372 h 2600"/>
                <a:gd name="T38" fmla="*/ 195 w 2281"/>
                <a:gd name="T39" fmla="*/ 363 h 2600"/>
                <a:gd name="T40" fmla="*/ 192 w 2281"/>
                <a:gd name="T41" fmla="*/ 337 h 2600"/>
                <a:gd name="T42" fmla="*/ 213 w 2281"/>
                <a:gd name="T43" fmla="*/ 312 h 2600"/>
                <a:gd name="T44" fmla="*/ 214 w 2281"/>
                <a:gd name="T45" fmla="*/ 282 h 2600"/>
                <a:gd name="T46" fmla="*/ 207 w 2281"/>
                <a:gd name="T47" fmla="*/ 258 h 2600"/>
                <a:gd name="T48" fmla="*/ 218 w 2281"/>
                <a:gd name="T49" fmla="*/ 231 h 2600"/>
                <a:gd name="T50" fmla="*/ 240 w 2281"/>
                <a:gd name="T51" fmla="*/ 199 h 2600"/>
                <a:gd name="T52" fmla="*/ 253 w 2281"/>
                <a:gd name="T53" fmla="*/ 163 h 2600"/>
                <a:gd name="T54" fmla="*/ 252 w 2281"/>
                <a:gd name="T55" fmla="*/ 154 h 2600"/>
                <a:gd name="T56" fmla="*/ 230 w 2281"/>
                <a:gd name="T57" fmla="*/ 163 h 2600"/>
                <a:gd name="T58" fmla="*/ 223 w 2281"/>
                <a:gd name="T59" fmla="*/ 149 h 2600"/>
                <a:gd name="T60" fmla="*/ 210 w 2281"/>
                <a:gd name="T61" fmla="*/ 135 h 2600"/>
                <a:gd name="T62" fmla="*/ 206 w 2281"/>
                <a:gd name="T63" fmla="*/ 118 h 2600"/>
                <a:gd name="T64" fmla="*/ 196 w 2281"/>
                <a:gd name="T65" fmla="*/ 83 h 2600"/>
                <a:gd name="T66" fmla="*/ 183 w 2281"/>
                <a:gd name="T67" fmla="*/ 48 h 2600"/>
                <a:gd name="T68" fmla="*/ 177 w 2281"/>
                <a:gd name="T69" fmla="*/ 35 h 2600"/>
                <a:gd name="T70" fmla="*/ 171 w 2281"/>
                <a:gd name="T71" fmla="*/ 40 h 2600"/>
                <a:gd name="T72" fmla="*/ 156 w 2281"/>
                <a:gd name="T73" fmla="*/ 35 h 2600"/>
                <a:gd name="T74" fmla="*/ 137 w 2281"/>
                <a:gd name="T75" fmla="*/ 32 h 2600"/>
                <a:gd name="T76" fmla="*/ 134 w 2281"/>
                <a:gd name="T77" fmla="*/ 44 h 2600"/>
                <a:gd name="T78" fmla="*/ 120 w 2281"/>
                <a:gd name="T79" fmla="*/ 31 h 2600"/>
                <a:gd name="T80" fmla="*/ 101 w 2281"/>
                <a:gd name="T81" fmla="*/ 20 h 2600"/>
                <a:gd name="T82" fmla="*/ 105 w 2281"/>
                <a:gd name="T83" fmla="*/ 0 h 2600"/>
                <a:gd name="T84" fmla="*/ 97 w 2281"/>
                <a:gd name="T85" fmla="*/ 1 h 2600"/>
                <a:gd name="T86" fmla="*/ 70 w 2281"/>
                <a:gd name="T87" fmla="*/ 3 h 2600"/>
                <a:gd name="T88" fmla="*/ 57 w 2281"/>
                <a:gd name="T89" fmla="*/ 13 h 2600"/>
                <a:gd name="T90" fmla="*/ 43 w 2281"/>
                <a:gd name="T91" fmla="*/ 9 h 2600"/>
                <a:gd name="T92" fmla="*/ 31 w 2281"/>
                <a:gd name="T93" fmla="*/ 30 h 2600"/>
                <a:gd name="T94" fmla="*/ 27 w 2281"/>
                <a:gd name="T95" fmla="*/ 50 h 2600"/>
                <a:gd name="T96" fmla="*/ 17 w 2281"/>
                <a:gd name="T97" fmla="*/ 59 h 2600"/>
                <a:gd name="T98" fmla="*/ 2 w 2281"/>
                <a:gd name="T99" fmla="*/ 100 h 2600"/>
                <a:gd name="T100" fmla="*/ 6 w 2281"/>
                <a:gd name="T101" fmla="*/ 115 h 2600"/>
                <a:gd name="T102" fmla="*/ 0 w 2281"/>
                <a:gd name="T103" fmla="*/ 137 h 2600"/>
                <a:gd name="T104" fmla="*/ 8 w 2281"/>
                <a:gd name="T105" fmla="*/ 155 h 26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281" h="2600">
                  <a:moveTo>
                    <a:pt x="69" y="943"/>
                  </a:moveTo>
                  <a:lnTo>
                    <a:pt x="84" y="970"/>
                  </a:lnTo>
                  <a:lnTo>
                    <a:pt x="143" y="1034"/>
                  </a:lnTo>
                  <a:lnTo>
                    <a:pt x="203" y="1107"/>
                  </a:lnTo>
                  <a:lnTo>
                    <a:pt x="331" y="1200"/>
                  </a:lnTo>
                  <a:lnTo>
                    <a:pt x="517" y="1190"/>
                  </a:lnTo>
                  <a:lnTo>
                    <a:pt x="740" y="1140"/>
                  </a:lnTo>
                  <a:lnTo>
                    <a:pt x="787" y="1205"/>
                  </a:lnTo>
                  <a:lnTo>
                    <a:pt x="859" y="1189"/>
                  </a:lnTo>
                  <a:lnTo>
                    <a:pt x="872" y="1377"/>
                  </a:lnTo>
                  <a:lnTo>
                    <a:pt x="975" y="1530"/>
                  </a:lnTo>
                  <a:lnTo>
                    <a:pt x="1037" y="1732"/>
                  </a:lnTo>
                  <a:lnTo>
                    <a:pt x="965" y="1960"/>
                  </a:lnTo>
                  <a:lnTo>
                    <a:pt x="1058" y="2153"/>
                  </a:lnTo>
                  <a:lnTo>
                    <a:pt x="1081" y="2332"/>
                  </a:lnTo>
                  <a:lnTo>
                    <a:pt x="1190" y="2600"/>
                  </a:lnTo>
                  <a:lnTo>
                    <a:pt x="1480" y="2563"/>
                  </a:lnTo>
                  <a:lnTo>
                    <a:pt x="1654" y="2371"/>
                  </a:lnTo>
                  <a:lnTo>
                    <a:pt x="1667" y="2264"/>
                  </a:lnTo>
                  <a:lnTo>
                    <a:pt x="1754" y="2211"/>
                  </a:lnTo>
                  <a:lnTo>
                    <a:pt x="1729" y="2052"/>
                  </a:lnTo>
                  <a:lnTo>
                    <a:pt x="1919" y="1896"/>
                  </a:lnTo>
                  <a:lnTo>
                    <a:pt x="1923" y="1716"/>
                  </a:lnTo>
                  <a:lnTo>
                    <a:pt x="1868" y="1570"/>
                  </a:lnTo>
                  <a:lnTo>
                    <a:pt x="1960" y="1407"/>
                  </a:lnTo>
                  <a:lnTo>
                    <a:pt x="2159" y="1210"/>
                  </a:lnTo>
                  <a:lnTo>
                    <a:pt x="2281" y="994"/>
                  </a:lnTo>
                  <a:lnTo>
                    <a:pt x="2265" y="935"/>
                  </a:lnTo>
                  <a:lnTo>
                    <a:pt x="2071" y="990"/>
                  </a:lnTo>
                  <a:lnTo>
                    <a:pt x="2006" y="905"/>
                  </a:lnTo>
                  <a:lnTo>
                    <a:pt x="1894" y="823"/>
                  </a:lnTo>
                  <a:lnTo>
                    <a:pt x="1855" y="716"/>
                  </a:lnTo>
                  <a:lnTo>
                    <a:pt x="1764" y="503"/>
                  </a:lnTo>
                  <a:lnTo>
                    <a:pt x="1652" y="291"/>
                  </a:lnTo>
                  <a:lnTo>
                    <a:pt x="1597" y="215"/>
                  </a:lnTo>
                  <a:lnTo>
                    <a:pt x="1540" y="245"/>
                  </a:lnTo>
                  <a:lnTo>
                    <a:pt x="1408" y="214"/>
                  </a:lnTo>
                  <a:lnTo>
                    <a:pt x="1238" y="197"/>
                  </a:lnTo>
                  <a:lnTo>
                    <a:pt x="1203" y="266"/>
                  </a:lnTo>
                  <a:lnTo>
                    <a:pt x="1078" y="187"/>
                  </a:lnTo>
                  <a:lnTo>
                    <a:pt x="907" y="121"/>
                  </a:lnTo>
                  <a:lnTo>
                    <a:pt x="946" y="0"/>
                  </a:lnTo>
                  <a:lnTo>
                    <a:pt x="870" y="7"/>
                  </a:lnTo>
                  <a:lnTo>
                    <a:pt x="633" y="20"/>
                  </a:lnTo>
                  <a:lnTo>
                    <a:pt x="510" y="77"/>
                  </a:lnTo>
                  <a:lnTo>
                    <a:pt x="388" y="54"/>
                  </a:lnTo>
                  <a:lnTo>
                    <a:pt x="281" y="181"/>
                  </a:lnTo>
                  <a:lnTo>
                    <a:pt x="244" y="305"/>
                  </a:lnTo>
                  <a:lnTo>
                    <a:pt x="154" y="360"/>
                  </a:lnTo>
                  <a:lnTo>
                    <a:pt x="22" y="607"/>
                  </a:lnTo>
                  <a:lnTo>
                    <a:pt x="53" y="697"/>
                  </a:lnTo>
                  <a:lnTo>
                    <a:pt x="0" y="833"/>
                  </a:lnTo>
                  <a:lnTo>
                    <a:pt x="69" y="94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2" name="Freeform 34"/>
            <p:cNvSpPr>
              <a:spLocks/>
            </p:cNvSpPr>
            <p:nvPr/>
          </p:nvSpPr>
          <p:spPr bwMode="auto">
            <a:xfrm>
              <a:off x="6191250" y="4867275"/>
              <a:ext cx="352425" cy="223838"/>
            </a:xfrm>
            <a:custGeom>
              <a:avLst/>
              <a:gdLst>
                <a:gd name="T0" fmla="*/ 0 w 665"/>
                <a:gd name="T1" fmla="*/ 5 h 345"/>
                <a:gd name="T2" fmla="*/ 11 w 665"/>
                <a:gd name="T3" fmla="*/ 10 h 345"/>
                <a:gd name="T4" fmla="*/ 7 w 665"/>
                <a:gd name="T5" fmla="*/ 21 h 345"/>
                <a:gd name="T6" fmla="*/ 27 w 665"/>
                <a:gd name="T7" fmla="*/ 29 h 345"/>
                <a:gd name="T8" fmla="*/ 26 w 665"/>
                <a:gd name="T9" fmla="*/ 47 h 345"/>
                <a:gd name="T10" fmla="*/ 44 w 665"/>
                <a:gd name="T11" fmla="*/ 52 h 345"/>
                <a:gd name="T12" fmla="*/ 50 w 665"/>
                <a:gd name="T13" fmla="*/ 42 h 345"/>
                <a:gd name="T14" fmla="*/ 74 w 665"/>
                <a:gd name="T15" fmla="*/ 58 h 345"/>
                <a:gd name="T16" fmla="*/ 62 w 665"/>
                <a:gd name="T17" fmla="*/ 33 h 345"/>
                <a:gd name="T18" fmla="*/ 26 w 665"/>
                <a:gd name="T19" fmla="*/ 5 h 345"/>
                <a:gd name="T20" fmla="*/ 6 w 665"/>
                <a:gd name="T21" fmla="*/ 0 h 345"/>
                <a:gd name="T22" fmla="*/ 0 w 665"/>
                <a:gd name="T23" fmla="*/ 5 h 3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65" h="345">
                  <a:moveTo>
                    <a:pt x="0" y="33"/>
                  </a:moveTo>
                  <a:lnTo>
                    <a:pt x="100" y="60"/>
                  </a:lnTo>
                  <a:lnTo>
                    <a:pt x="66" y="127"/>
                  </a:lnTo>
                  <a:lnTo>
                    <a:pt x="241" y="177"/>
                  </a:lnTo>
                  <a:lnTo>
                    <a:pt x="231" y="285"/>
                  </a:lnTo>
                  <a:lnTo>
                    <a:pt x="397" y="310"/>
                  </a:lnTo>
                  <a:lnTo>
                    <a:pt x="451" y="252"/>
                  </a:lnTo>
                  <a:lnTo>
                    <a:pt x="665" y="345"/>
                  </a:lnTo>
                  <a:lnTo>
                    <a:pt x="557" y="198"/>
                  </a:lnTo>
                  <a:lnTo>
                    <a:pt x="232" y="33"/>
                  </a:lnTo>
                  <a:lnTo>
                    <a:pt x="50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3" name="Freeform 35"/>
            <p:cNvSpPr>
              <a:spLocks/>
            </p:cNvSpPr>
            <p:nvPr/>
          </p:nvSpPr>
          <p:spPr bwMode="auto">
            <a:xfrm>
              <a:off x="6034088" y="4638675"/>
              <a:ext cx="71437" cy="93663"/>
            </a:xfrm>
            <a:custGeom>
              <a:avLst/>
              <a:gdLst>
                <a:gd name="T0" fmla="*/ 0 w 137"/>
                <a:gd name="T1" fmla="*/ 16 h 144"/>
                <a:gd name="T2" fmla="*/ 3 w 137"/>
                <a:gd name="T3" fmla="*/ 8 h 144"/>
                <a:gd name="T4" fmla="*/ 13 w 137"/>
                <a:gd name="T5" fmla="*/ 0 h 144"/>
                <a:gd name="T6" fmla="*/ 15 w 137"/>
                <a:gd name="T7" fmla="*/ 15 h 144"/>
                <a:gd name="T8" fmla="*/ 12 w 137"/>
                <a:gd name="T9" fmla="*/ 24 h 144"/>
                <a:gd name="T10" fmla="*/ 6 w 137"/>
                <a:gd name="T11" fmla="*/ 11 h 144"/>
                <a:gd name="T12" fmla="*/ 0 w 137"/>
                <a:gd name="T13" fmla="*/ 16 h 1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7" h="144">
                  <a:moveTo>
                    <a:pt x="0" y="96"/>
                  </a:moveTo>
                  <a:lnTo>
                    <a:pt x="31" y="48"/>
                  </a:lnTo>
                  <a:lnTo>
                    <a:pt x="121" y="0"/>
                  </a:lnTo>
                  <a:lnTo>
                    <a:pt x="137" y="87"/>
                  </a:lnTo>
                  <a:lnTo>
                    <a:pt x="117" y="144"/>
                  </a:lnTo>
                  <a:lnTo>
                    <a:pt x="57" y="68"/>
                  </a:lnTo>
                  <a:lnTo>
                    <a:pt x="0" y="96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4" name="Freeform 36"/>
            <p:cNvSpPr>
              <a:spLocks/>
            </p:cNvSpPr>
            <p:nvPr/>
          </p:nvSpPr>
          <p:spPr bwMode="auto">
            <a:xfrm>
              <a:off x="5995988" y="4437063"/>
              <a:ext cx="74612" cy="142875"/>
            </a:xfrm>
            <a:custGeom>
              <a:avLst/>
              <a:gdLst>
                <a:gd name="T0" fmla="*/ 0 w 136"/>
                <a:gd name="T1" fmla="*/ 15 h 221"/>
                <a:gd name="T2" fmla="*/ 3 w 136"/>
                <a:gd name="T3" fmla="*/ 0 h 221"/>
                <a:gd name="T4" fmla="*/ 9 w 136"/>
                <a:gd name="T5" fmla="*/ 0 h 221"/>
                <a:gd name="T6" fmla="*/ 10 w 136"/>
                <a:gd name="T7" fmla="*/ 10 h 221"/>
                <a:gd name="T8" fmla="*/ 6 w 136"/>
                <a:gd name="T9" fmla="*/ 20 h 221"/>
                <a:gd name="T10" fmla="*/ 16 w 136"/>
                <a:gd name="T11" fmla="*/ 37 h 221"/>
                <a:gd name="T12" fmla="*/ 3 w 136"/>
                <a:gd name="T13" fmla="*/ 29 h 221"/>
                <a:gd name="T14" fmla="*/ 0 w 136"/>
                <a:gd name="T15" fmla="*/ 15 h 2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6" h="221">
                  <a:moveTo>
                    <a:pt x="0" y="88"/>
                  </a:moveTo>
                  <a:lnTo>
                    <a:pt x="26" y="0"/>
                  </a:lnTo>
                  <a:lnTo>
                    <a:pt x="74" y="2"/>
                  </a:lnTo>
                  <a:lnTo>
                    <a:pt x="86" y="61"/>
                  </a:lnTo>
                  <a:lnTo>
                    <a:pt x="49" y="121"/>
                  </a:lnTo>
                  <a:lnTo>
                    <a:pt x="136" y="221"/>
                  </a:lnTo>
                  <a:lnTo>
                    <a:pt x="26" y="171"/>
                  </a:lnTo>
                  <a:lnTo>
                    <a:pt x="0" y="88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5" name="Freeform 37"/>
            <p:cNvSpPr>
              <a:spLocks/>
            </p:cNvSpPr>
            <p:nvPr/>
          </p:nvSpPr>
          <p:spPr bwMode="auto">
            <a:xfrm>
              <a:off x="5978525" y="4822825"/>
              <a:ext cx="109537" cy="158750"/>
            </a:xfrm>
            <a:custGeom>
              <a:avLst/>
              <a:gdLst>
                <a:gd name="T0" fmla="*/ 0 w 206"/>
                <a:gd name="T1" fmla="*/ 24 h 249"/>
                <a:gd name="T2" fmla="*/ 2 w 206"/>
                <a:gd name="T3" fmla="*/ 39 h 249"/>
                <a:gd name="T4" fmla="*/ 9 w 206"/>
                <a:gd name="T5" fmla="*/ 40 h 249"/>
                <a:gd name="T6" fmla="*/ 15 w 206"/>
                <a:gd name="T7" fmla="*/ 34 h 249"/>
                <a:gd name="T8" fmla="*/ 9 w 206"/>
                <a:gd name="T9" fmla="*/ 19 h 249"/>
                <a:gd name="T10" fmla="*/ 20 w 206"/>
                <a:gd name="T11" fmla="*/ 7 h 249"/>
                <a:gd name="T12" fmla="*/ 23 w 206"/>
                <a:gd name="T13" fmla="*/ 0 h 249"/>
                <a:gd name="T14" fmla="*/ 8 w 206"/>
                <a:gd name="T15" fmla="*/ 2 h 249"/>
                <a:gd name="T16" fmla="*/ 4 w 206"/>
                <a:gd name="T17" fmla="*/ 5 h 249"/>
                <a:gd name="T18" fmla="*/ 0 w 206"/>
                <a:gd name="T19" fmla="*/ 24 h 2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6" h="249">
                  <a:moveTo>
                    <a:pt x="0" y="150"/>
                  </a:moveTo>
                  <a:lnTo>
                    <a:pt x="17" y="240"/>
                  </a:lnTo>
                  <a:lnTo>
                    <a:pt x="82" y="249"/>
                  </a:lnTo>
                  <a:lnTo>
                    <a:pt x="130" y="210"/>
                  </a:lnTo>
                  <a:lnTo>
                    <a:pt x="82" y="120"/>
                  </a:lnTo>
                  <a:lnTo>
                    <a:pt x="178" y="44"/>
                  </a:lnTo>
                  <a:lnTo>
                    <a:pt x="206" y="0"/>
                  </a:lnTo>
                  <a:lnTo>
                    <a:pt x="71" y="12"/>
                  </a:lnTo>
                  <a:lnTo>
                    <a:pt x="39" y="33"/>
                  </a:lnTo>
                  <a:lnTo>
                    <a:pt x="0" y="150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6" name="Freeform 38"/>
            <p:cNvSpPr>
              <a:spLocks/>
            </p:cNvSpPr>
            <p:nvPr/>
          </p:nvSpPr>
          <p:spPr bwMode="auto">
            <a:xfrm>
              <a:off x="5805488" y="4700588"/>
              <a:ext cx="180975" cy="250825"/>
            </a:xfrm>
            <a:custGeom>
              <a:avLst/>
              <a:gdLst>
                <a:gd name="T0" fmla="*/ 0 w 340"/>
                <a:gd name="T1" fmla="*/ 38 h 387"/>
                <a:gd name="T2" fmla="*/ 3 w 340"/>
                <a:gd name="T3" fmla="*/ 31 h 387"/>
                <a:gd name="T4" fmla="*/ 31 w 340"/>
                <a:gd name="T5" fmla="*/ 0 h 387"/>
                <a:gd name="T6" fmla="*/ 38 w 340"/>
                <a:gd name="T7" fmla="*/ 10 h 387"/>
                <a:gd name="T8" fmla="*/ 31 w 340"/>
                <a:gd name="T9" fmla="*/ 20 h 387"/>
                <a:gd name="T10" fmla="*/ 34 w 340"/>
                <a:gd name="T11" fmla="*/ 35 h 387"/>
                <a:gd name="T12" fmla="*/ 22 w 340"/>
                <a:gd name="T13" fmla="*/ 65 h 387"/>
                <a:gd name="T14" fmla="*/ 5 w 340"/>
                <a:gd name="T15" fmla="*/ 58 h 387"/>
                <a:gd name="T16" fmla="*/ 0 w 340"/>
                <a:gd name="T17" fmla="*/ 38 h 38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0" h="387">
                  <a:moveTo>
                    <a:pt x="0" y="228"/>
                  </a:moveTo>
                  <a:lnTo>
                    <a:pt x="25" y="187"/>
                  </a:lnTo>
                  <a:lnTo>
                    <a:pt x="271" y="0"/>
                  </a:lnTo>
                  <a:lnTo>
                    <a:pt x="340" y="61"/>
                  </a:lnTo>
                  <a:lnTo>
                    <a:pt x="272" y="121"/>
                  </a:lnTo>
                  <a:lnTo>
                    <a:pt x="298" y="207"/>
                  </a:lnTo>
                  <a:lnTo>
                    <a:pt x="195" y="387"/>
                  </a:lnTo>
                  <a:lnTo>
                    <a:pt x="45" y="348"/>
                  </a:lnTo>
                  <a:lnTo>
                    <a:pt x="0" y="228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7" name="Freeform 39"/>
            <p:cNvSpPr>
              <a:spLocks/>
            </p:cNvSpPr>
            <p:nvPr/>
          </p:nvSpPr>
          <p:spPr bwMode="auto">
            <a:xfrm>
              <a:off x="5745163" y="4992688"/>
              <a:ext cx="155575" cy="66675"/>
            </a:xfrm>
            <a:custGeom>
              <a:avLst/>
              <a:gdLst>
                <a:gd name="T0" fmla="*/ 0 w 300"/>
                <a:gd name="T1" fmla="*/ 5 h 100"/>
                <a:gd name="T2" fmla="*/ 2 w 300"/>
                <a:gd name="T3" fmla="*/ 0 h 100"/>
                <a:gd name="T4" fmla="*/ 25 w 300"/>
                <a:gd name="T5" fmla="*/ 5 h 100"/>
                <a:gd name="T6" fmla="*/ 32 w 300"/>
                <a:gd name="T7" fmla="*/ 11 h 100"/>
                <a:gd name="T8" fmla="*/ 32 w 300"/>
                <a:gd name="T9" fmla="*/ 18 h 100"/>
                <a:gd name="T10" fmla="*/ 6 w 300"/>
                <a:gd name="T11" fmla="*/ 9 h 100"/>
                <a:gd name="T12" fmla="*/ 0 w 300"/>
                <a:gd name="T13" fmla="*/ 5 h 1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00" h="100">
                  <a:moveTo>
                    <a:pt x="0" y="27"/>
                  </a:moveTo>
                  <a:lnTo>
                    <a:pt x="19" y="0"/>
                  </a:lnTo>
                  <a:lnTo>
                    <a:pt x="233" y="30"/>
                  </a:lnTo>
                  <a:lnTo>
                    <a:pt x="296" y="63"/>
                  </a:lnTo>
                  <a:lnTo>
                    <a:pt x="300" y="100"/>
                  </a:lnTo>
                  <a:lnTo>
                    <a:pt x="51" y="51"/>
                  </a:lnTo>
                  <a:lnTo>
                    <a:pt x="0" y="27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8" name="Freeform 40"/>
            <p:cNvSpPr>
              <a:spLocks/>
            </p:cNvSpPr>
            <p:nvPr/>
          </p:nvSpPr>
          <p:spPr bwMode="auto">
            <a:xfrm>
              <a:off x="5564188" y="4732338"/>
              <a:ext cx="193675" cy="257175"/>
            </a:xfrm>
            <a:custGeom>
              <a:avLst/>
              <a:gdLst>
                <a:gd name="T0" fmla="*/ 0 w 360"/>
                <a:gd name="T1" fmla="*/ 0 h 399"/>
                <a:gd name="T2" fmla="*/ 9 w 360"/>
                <a:gd name="T3" fmla="*/ 3 h 399"/>
                <a:gd name="T4" fmla="*/ 30 w 360"/>
                <a:gd name="T5" fmla="*/ 26 h 399"/>
                <a:gd name="T6" fmla="*/ 32 w 360"/>
                <a:gd name="T7" fmla="*/ 37 h 399"/>
                <a:gd name="T8" fmla="*/ 41 w 360"/>
                <a:gd name="T9" fmla="*/ 50 h 399"/>
                <a:gd name="T10" fmla="*/ 36 w 360"/>
                <a:gd name="T11" fmla="*/ 66 h 399"/>
                <a:gd name="T12" fmla="*/ 27 w 360"/>
                <a:gd name="T13" fmla="*/ 56 h 399"/>
                <a:gd name="T14" fmla="*/ 14 w 360"/>
                <a:gd name="T15" fmla="*/ 23 h 399"/>
                <a:gd name="T16" fmla="*/ 0 w 360"/>
                <a:gd name="T17" fmla="*/ 0 h 39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60" h="399">
                  <a:moveTo>
                    <a:pt x="0" y="0"/>
                  </a:moveTo>
                  <a:lnTo>
                    <a:pt x="77" y="18"/>
                  </a:lnTo>
                  <a:lnTo>
                    <a:pt x="262" y="161"/>
                  </a:lnTo>
                  <a:lnTo>
                    <a:pt x="278" y="225"/>
                  </a:lnTo>
                  <a:lnTo>
                    <a:pt x="360" y="303"/>
                  </a:lnTo>
                  <a:lnTo>
                    <a:pt x="313" y="399"/>
                  </a:lnTo>
                  <a:lnTo>
                    <a:pt x="239" y="339"/>
                  </a:lnTo>
                  <a:lnTo>
                    <a:pt x="118" y="13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69" name="Freeform 41"/>
            <p:cNvSpPr>
              <a:spLocks/>
            </p:cNvSpPr>
            <p:nvPr/>
          </p:nvSpPr>
          <p:spPr bwMode="auto">
            <a:xfrm>
              <a:off x="6348413" y="3763963"/>
              <a:ext cx="103187" cy="98425"/>
            </a:xfrm>
            <a:custGeom>
              <a:avLst/>
              <a:gdLst>
                <a:gd name="T0" fmla="*/ 0 w 196"/>
                <a:gd name="T1" fmla="*/ 21 h 151"/>
                <a:gd name="T2" fmla="*/ 2 w 196"/>
                <a:gd name="T3" fmla="*/ 22 h 151"/>
                <a:gd name="T4" fmla="*/ 13 w 196"/>
                <a:gd name="T5" fmla="*/ 25 h 151"/>
                <a:gd name="T6" fmla="*/ 22 w 196"/>
                <a:gd name="T7" fmla="*/ 15 h 151"/>
                <a:gd name="T8" fmla="*/ 20 w 196"/>
                <a:gd name="T9" fmla="*/ 9 h 151"/>
                <a:gd name="T10" fmla="*/ 8 w 196"/>
                <a:gd name="T11" fmla="*/ 0 h 151"/>
                <a:gd name="T12" fmla="*/ 0 w 196"/>
                <a:gd name="T13" fmla="*/ 21 h 15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6" h="151">
                  <a:moveTo>
                    <a:pt x="0" y="126"/>
                  </a:moveTo>
                  <a:lnTo>
                    <a:pt x="22" y="128"/>
                  </a:lnTo>
                  <a:lnTo>
                    <a:pt x="115" y="151"/>
                  </a:lnTo>
                  <a:lnTo>
                    <a:pt x="196" y="90"/>
                  </a:lnTo>
                  <a:lnTo>
                    <a:pt x="184" y="50"/>
                  </a:lnTo>
                  <a:lnTo>
                    <a:pt x="70" y="0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0" name="Freeform 42"/>
            <p:cNvSpPr>
              <a:spLocks/>
            </p:cNvSpPr>
            <p:nvPr/>
          </p:nvSpPr>
          <p:spPr bwMode="auto">
            <a:xfrm>
              <a:off x="6381750" y="3503613"/>
              <a:ext cx="52387" cy="247650"/>
            </a:xfrm>
            <a:custGeom>
              <a:avLst/>
              <a:gdLst>
                <a:gd name="T0" fmla="*/ 0 w 102"/>
                <a:gd name="T1" fmla="*/ 16 h 384"/>
                <a:gd name="T2" fmla="*/ 2 w 102"/>
                <a:gd name="T3" fmla="*/ 63 h 384"/>
                <a:gd name="T4" fmla="*/ 11 w 102"/>
                <a:gd name="T5" fmla="*/ 43 h 384"/>
                <a:gd name="T6" fmla="*/ 4 w 102"/>
                <a:gd name="T7" fmla="*/ 0 h 384"/>
                <a:gd name="T8" fmla="*/ 0 w 102"/>
                <a:gd name="T9" fmla="*/ 16 h 3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2" h="384">
                  <a:moveTo>
                    <a:pt x="0" y="96"/>
                  </a:moveTo>
                  <a:lnTo>
                    <a:pt x="17" y="384"/>
                  </a:lnTo>
                  <a:lnTo>
                    <a:pt x="102" y="264"/>
                  </a:lnTo>
                  <a:lnTo>
                    <a:pt x="33" y="0"/>
                  </a:lnTo>
                  <a:lnTo>
                    <a:pt x="0" y="96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1" name="Freeform 43"/>
            <p:cNvSpPr>
              <a:spLocks/>
            </p:cNvSpPr>
            <p:nvPr/>
          </p:nvSpPr>
          <p:spPr bwMode="auto">
            <a:xfrm>
              <a:off x="6192838" y="3875088"/>
              <a:ext cx="198437" cy="195263"/>
            </a:xfrm>
            <a:custGeom>
              <a:avLst/>
              <a:gdLst>
                <a:gd name="T0" fmla="*/ 0 w 373"/>
                <a:gd name="T1" fmla="*/ 51 h 295"/>
                <a:gd name="T2" fmla="*/ 7 w 373"/>
                <a:gd name="T3" fmla="*/ 42 h 295"/>
                <a:gd name="T4" fmla="*/ 18 w 373"/>
                <a:gd name="T5" fmla="*/ 42 h 295"/>
                <a:gd name="T6" fmla="*/ 24 w 373"/>
                <a:gd name="T7" fmla="*/ 28 h 295"/>
                <a:gd name="T8" fmla="*/ 33 w 373"/>
                <a:gd name="T9" fmla="*/ 18 h 295"/>
                <a:gd name="T10" fmla="*/ 40 w 373"/>
                <a:gd name="T11" fmla="*/ 0 h 295"/>
                <a:gd name="T12" fmla="*/ 42 w 373"/>
                <a:gd name="T13" fmla="*/ 14 h 295"/>
                <a:gd name="T14" fmla="*/ 36 w 373"/>
                <a:gd name="T15" fmla="*/ 43 h 295"/>
                <a:gd name="T16" fmla="*/ 22 w 373"/>
                <a:gd name="T17" fmla="*/ 50 h 295"/>
                <a:gd name="T18" fmla="*/ 12 w 373"/>
                <a:gd name="T19" fmla="*/ 48 h 295"/>
                <a:gd name="T20" fmla="*/ 0 w 373"/>
                <a:gd name="T21" fmla="*/ 51 h 29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73" h="295">
                  <a:moveTo>
                    <a:pt x="0" y="295"/>
                  </a:moveTo>
                  <a:lnTo>
                    <a:pt x="63" y="239"/>
                  </a:lnTo>
                  <a:lnTo>
                    <a:pt x="160" y="239"/>
                  </a:lnTo>
                  <a:lnTo>
                    <a:pt x="211" y="158"/>
                  </a:lnTo>
                  <a:lnTo>
                    <a:pt x="294" y="106"/>
                  </a:lnTo>
                  <a:lnTo>
                    <a:pt x="352" y="0"/>
                  </a:lnTo>
                  <a:lnTo>
                    <a:pt x="373" y="78"/>
                  </a:lnTo>
                  <a:lnTo>
                    <a:pt x="315" y="249"/>
                  </a:lnTo>
                  <a:lnTo>
                    <a:pt x="197" y="290"/>
                  </a:lnTo>
                  <a:lnTo>
                    <a:pt x="111" y="277"/>
                  </a:lnTo>
                  <a:lnTo>
                    <a:pt x="0" y="295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2" name="Freeform 44"/>
            <p:cNvSpPr>
              <a:spLocks/>
            </p:cNvSpPr>
            <p:nvPr/>
          </p:nvSpPr>
          <p:spPr bwMode="auto">
            <a:xfrm>
              <a:off x="5295900" y="4638675"/>
              <a:ext cx="33337" cy="84138"/>
            </a:xfrm>
            <a:custGeom>
              <a:avLst/>
              <a:gdLst>
                <a:gd name="T0" fmla="*/ 0 w 62"/>
                <a:gd name="T1" fmla="*/ 0 h 129"/>
                <a:gd name="T2" fmla="*/ 1 w 62"/>
                <a:gd name="T3" fmla="*/ 22 h 129"/>
                <a:gd name="T4" fmla="*/ 7 w 62"/>
                <a:gd name="T5" fmla="*/ 18 h 129"/>
                <a:gd name="T6" fmla="*/ 4 w 62"/>
                <a:gd name="T7" fmla="*/ 5 h 129"/>
                <a:gd name="T8" fmla="*/ 0 w 62"/>
                <a:gd name="T9" fmla="*/ 0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2" h="129">
                  <a:moveTo>
                    <a:pt x="0" y="0"/>
                  </a:moveTo>
                  <a:lnTo>
                    <a:pt x="10" y="129"/>
                  </a:lnTo>
                  <a:lnTo>
                    <a:pt x="62" y="105"/>
                  </a:lnTo>
                  <a:lnTo>
                    <a:pt x="34" y="2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3" name="Freeform 45"/>
            <p:cNvSpPr>
              <a:spLocks/>
            </p:cNvSpPr>
            <p:nvPr/>
          </p:nvSpPr>
          <p:spPr bwMode="auto">
            <a:xfrm>
              <a:off x="4084638" y="2503488"/>
              <a:ext cx="185737" cy="171450"/>
            </a:xfrm>
            <a:custGeom>
              <a:avLst/>
              <a:gdLst>
                <a:gd name="T0" fmla="*/ 0 w 350"/>
                <a:gd name="T1" fmla="*/ 5 h 263"/>
                <a:gd name="T2" fmla="*/ 0 w 350"/>
                <a:gd name="T3" fmla="*/ 10 h 263"/>
                <a:gd name="T4" fmla="*/ 7 w 350"/>
                <a:gd name="T5" fmla="*/ 25 h 263"/>
                <a:gd name="T6" fmla="*/ 18 w 350"/>
                <a:gd name="T7" fmla="*/ 22 h 263"/>
                <a:gd name="T8" fmla="*/ 11 w 350"/>
                <a:gd name="T9" fmla="*/ 27 h 263"/>
                <a:gd name="T10" fmla="*/ 19 w 350"/>
                <a:gd name="T11" fmla="*/ 34 h 263"/>
                <a:gd name="T12" fmla="*/ 12 w 350"/>
                <a:gd name="T13" fmla="*/ 35 h 263"/>
                <a:gd name="T14" fmla="*/ 23 w 350"/>
                <a:gd name="T15" fmla="*/ 44 h 263"/>
                <a:gd name="T16" fmla="*/ 39 w 350"/>
                <a:gd name="T17" fmla="*/ 16 h 263"/>
                <a:gd name="T18" fmla="*/ 20 w 350"/>
                <a:gd name="T19" fmla="*/ 0 h 263"/>
                <a:gd name="T20" fmla="*/ 21 w 350"/>
                <a:gd name="T21" fmla="*/ 16 h 263"/>
                <a:gd name="T22" fmla="*/ 13 w 350"/>
                <a:gd name="T23" fmla="*/ 4 h 263"/>
                <a:gd name="T24" fmla="*/ 0 w 350"/>
                <a:gd name="T25" fmla="*/ 5 h 26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50" h="263">
                  <a:moveTo>
                    <a:pt x="0" y="32"/>
                  </a:moveTo>
                  <a:lnTo>
                    <a:pt x="3" y="62"/>
                  </a:lnTo>
                  <a:lnTo>
                    <a:pt x="64" y="145"/>
                  </a:lnTo>
                  <a:lnTo>
                    <a:pt x="162" y="128"/>
                  </a:lnTo>
                  <a:lnTo>
                    <a:pt x="96" y="160"/>
                  </a:lnTo>
                  <a:lnTo>
                    <a:pt x="173" y="199"/>
                  </a:lnTo>
                  <a:lnTo>
                    <a:pt x="106" y="206"/>
                  </a:lnTo>
                  <a:lnTo>
                    <a:pt x="207" y="263"/>
                  </a:lnTo>
                  <a:lnTo>
                    <a:pt x="350" y="94"/>
                  </a:lnTo>
                  <a:lnTo>
                    <a:pt x="182" y="0"/>
                  </a:lnTo>
                  <a:lnTo>
                    <a:pt x="188" y="92"/>
                  </a:lnTo>
                  <a:lnTo>
                    <a:pt x="119" y="21"/>
                  </a:lnTo>
                  <a:lnTo>
                    <a:pt x="0" y="32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4" name="Freeform 46"/>
            <p:cNvSpPr>
              <a:spLocks/>
            </p:cNvSpPr>
            <p:nvPr/>
          </p:nvSpPr>
          <p:spPr bwMode="auto">
            <a:xfrm>
              <a:off x="4211638" y="2484438"/>
              <a:ext cx="160337" cy="65088"/>
            </a:xfrm>
            <a:custGeom>
              <a:avLst/>
              <a:gdLst>
                <a:gd name="T0" fmla="*/ 0 w 299"/>
                <a:gd name="T1" fmla="*/ 7 h 105"/>
                <a:gd name="T2" fmla="*/ 6 w 299"/>
                <a:gd name="T3" fmla="*/ 11 h 105"/>
                <a:gd name="T4" fmla="*/ 19 w 299"/>
                <a:gd name="T5" fmla="*/ 16 h 105"/>
                <a:gd name="T6" fmla="*/ 34 w 299"/>
                <a:gd name="T7" fmla="*/ 7 h 105"/>
                <a:gd name="T8" fmla="*/ 25 w 299"/>
                <a:gd name="T9" fmla="*/ 2 h 105"/>
                <a:gd name="T10" fmla="*/ 16 w 299"/>
                <a:gd name="T11" fmla="*/ 7 h 105"/>
                <a:gd name="T12" fmla="*/ 6 w 299"/>
                <a:gd name="T13" fmla="*/ 0 h 105"/>
                <a:gd name="T14" fmla="*/ 0 w 299"/>
                <a:gd name="T15" fmla="*/ 7 h 10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9" h="105">
                  <a:moveTo>
                    <a:pt x="0" y="47"/>
                  </a:moveTo>
                  <a:lnTo>
                    <a:pt x="52" y="75"/>
                  </a:lnTo>
                  <a:lnTo>
                    <a:pt x="170" y="105"/>
                  </a:lnTo>
                  <a:lnTo>
                    <a:pt x="299" y="47"/>
                  </a:lnTo>
                  <a:lnTo>
                    <a:pt x="223" y="13"/>
                  </a:lnTo>
                  <a:lnTo>
                    <a:pt x="138" y="43"/>
                  </a:lnTo>
                  <a:lnTo>
                    <a:pt x="52" y="0"/>
                  </a:lnTo>
                  <a:lnTo>
                    <a:pt x="0" y="47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5" name="Freeform 47"/>
            <p:cNvSpPr>
              <a:spLocks/>
            </p:cNvSpPr>
            <p:nvPr/>
          </p:nvSpPr>
          <p:spPr bwMode="auto">
            <a:xfrm>
              <a:off x="4257675" y="2598738"/>
              <a:ext cx="71437" cy="42863"/>
            </a:xfrm>
            <a:custGeom>
              <a:avLst/>
              <a:gdLst>
                <a:gd name="T0" fmla="*/ 0 w 137"/>
                <a:gd name="T1" fmla="*/ 8 h 73"/>
                <a:gd name="T2" fmla="*/ 1 w 137"/>
                <a:gd name="T3" fmla="*/ 3 h 73"/>
                <a:gd name="T4" fmla="*/ 8 w 137"/>
                <a:gd name="T5" fmla="*/ 0 h 73"/>
                <a:gd name="T6" fmla="*/ 15 w 137"/>
                <a:gd name="T7" fmla="*/ 5 h 73"/>
                <a:gd name="T8" fmla="*/ 6 w 137"/>
                <a:gd name="T9" fmla="*/ 10 h 73"/>
                <a:gd name="T10" fmla="*/ 0 w 137"/>
                <a:gd name="T11" fmla="*/ 8 h 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7" h="73">
                  <a:moveTo>
                    <a:pt x="0" y="60"/>
                  </a:moveTo>
                  <a:lnTo>
                    <a:pt x="11" y="22"/>
                  </a:lnTo>
                  <a:lnTo>
                    <a:pt x="71" y="0"/>
                  </a:lnTo>
                  <a:lnTo>
                    <a:pt x="137" y="37"/>
                  </a:lnTo>
                  <a:lnTo>
                    <a:pt x="58" y="73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6" name="Freeform 48"/>
            <p:cNvSpPr>
              <a:spLocks/>
            </p:cNvSpPr>
            <p:nvPr/>
          </p:nvSpPr>
          <p:spPr bwMode="auto">
            <a:xfrm>
              <a:off x="4795838" y="2830513"/>
              <a:ext cx="111125" cy="100013"/>
            </a:xfrm>
            <a:custGeom>
              <a:avLst/>
              <a:gdLst>
                <a:gd name="T0" fmla="*/ 0 w 204"/>
                <a:gd name="T1" fmla="*/ 12 h 153"/>
                <a:gd name="T2" fmla="*/ 10 w 204"/>
                <a:gd name="T3" fmla="*/ 18 h 153"/>
                <a:gd name="T4" fmla="*/ 9 w 204"/>
                <a:gd name="T5" fmla="*/ 25 h 153"/>
                <a:gd name="T6" fmla="*/ 24 w 204"/>
                <a:gd name="T7" fmla="*/ 26 h 153"/>
                <a:gd name="T8" fmla="*/ 15 w 204"/>
                <a:gd name="T9" fmla="*/ 4 h 153"/>
                <a:gd name="T10" fmla="*/ 7 w 204"/>
                <a:gd name="T11" fmla="*/ 0 h 153"/>
                <a:gd name="T12" fmla="*/ 0 w 204"/>
                <a:gd name="T13" fmla="*/ 12 h 15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4" h="153">
                  <a:moveTo>
                    <a:pt x="0" y="71"/>
                  </a:moveTo>
                  <a:lnTo>
                    <a:pt x="81" y="108"/>
                  </a:lnTo>
                  <a:lnTo>
                    <a:pt x="75" y="148"/>
                  </a:lnTo>
                  <a:lnTo>
                    <a:pt x="204" y="153"/>
                  </a:lnTo>
                  <a:lnTo>
                    <a:pt x="132" y="22"/>
                  </a:lnTo>
                  <a:lnTo>
                    <a:pt x="55" y="0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7" name="Freeform 49"/>
            <p:cNvSpPr>
              <a:spLocks/>
            </p:cNvSpPr>
            <p:nvPr/>
          </p:nvSpPr>
          <p:spPr bwMode="auto">
            <a:xfrm>
              <a:off x="4833938" y="2657475"/>
              <a:ext cx="257175" cy="166688"/>
            </a:xfrm>
            <a:custGeom>
              <a:avLst/>
              <a:gdLst>
                <a:gd name="T0" fmla="*/ 0 w 483"/>
                <a:gd name="T1" fmla="*/ 37 h 258"/>
                <a:gd name="T2" fmla="*/ 12 w 483"/>
                <a:gd name="T3" fmla="*/ 43 h 258"/>
                <a:gd name="T4" fmla="*/ 26 w 483"/>
                <a:gd name="T5" fmla="*/ 22 h 258"/>
                <a:gd name="T6" fmla="*/ 54 w 483"/>
                <a:gd name="T7" fmla="*/ 9 h 258"/>
                <a:gd name="T8" fmla="*/ 52 w 483"/>
                <a:gd name="T9" fmla="*/ 0 h 258"/>
                <a:gd name="T10" fmla="*/ 28 w 483"/>
                <a:gd name="T11" fmla="*/ 8 h 258"/>
                <a:gd name="T12" fmla="*/ 7 w 483"/>
                <a:gd name="T13" fmla="*/ 21 h 258"/>
                <a:gd name="T14" fmla="*/ 0 w 483"/>
                <a:gd name="T15" fmla="*/ 37 h 25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83" h="258">
                  <a:moveTo>
                    <a:pt x="0" y="224"/>
                  </a:moveTo>
                  <a:lnTo>
                    <a:pt x="103" y="258"/>
                  </a:lnTo>
                  <a:lnTo>
                    <a:pt x="229" y="135"/>
                  </a:lnTo>
                  <a:lnTo>
                    <a:pt x="483" y="55"/>
                  </a:lnTo>
                  <a:lnTo>
                    <a:pt x="461" y="0"/>
                  </a:lnTo>
                  <a:lnTo>
                    <a:pt x="243" y="49"/>
                  </a:lnTo>
                  <a:lnTo>
                    <a:pt x="66" y="126"/>
                  </a:lnTo>
                  <a:lnTo>
                    <a:pt x="0" y="224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8" name="Freeform 50"/>
            <p:cNvSpPr>
              <a:spLocks/>
            </p:cNvSpPr>
            <p:nvPr/>
          </p:nvSpPr>
          <p:spPr bwMode="auto">
            <a:xfrm>
              <a:off x="3717925" y="3476625"/>
              <a:ext cx="77787" cy="103188"/>
            </a:xfrm>
            <a:custGeom>
              <a:avLst/>
              <a:gdLst>
                <a:gd name="T0" fmla="*/ 1 w 151"/>
                <a:gd name="T1" fmla="*/ 26 h 162"/>
                <a:gd name="T2" fmla="*/ 13 w 151"/>
                <a:gd name="T3" fmla="*/ 24 h 162"/>
                <a:gd name="T4" fmla="*/ 16 w 151"/>
                <a:gd name="T5" fmla="*/ 6 h 162"/>
                <a:gd name="T6" fmla="*/ 10 w 151"/>
                <a:gd name="T7" fmla="*/ 0 h 162"/>
                <a:gd name="T8" fmla="*/ 0 w 151"/>
                <a:gd name="T9" fmla="*/ 10 h 162"/>
                <a:gd name="T10" fmla="*/ 4 w 151"/>
                <a:gd name="T11" fmla="*/ 17 h 162"/>
                <a:gd name="T12" fmla="*/ 1 w 151"/>
                <a:gd name="T13" fmla="*/ 26 h 1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1" h="162">
                  <a:moveTo>
                    <a:pt x="13" y="162"/>
                  </a:moveTo>
                  <a:lnTo>
                    <a:pt x="125" y="151"/>
                  </a:lnTo>
                  <a:lnTo>
                    <a:pt x="151" y="40"/>
                  </a:lnTo>
                  <a:lnTo>
                    <a:pt x="94" y="0"/>
                  </a:lnTo>
                  <a:lnTo>
                    <a:pt x="0" y="65"/>
                  </a:lnTo>
                  <a:lnTo>
                    <a:pt x="39" y="104"/>
                  </a:lnTo>
                  <a:lnTo>
                    <a:pt x="13" y="162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79" name="Freeform 51"/>
            <p:cNvSpPr>
              <a:spLocks/>
            </p:cNvSpPr>
            <p:nvPr/>
          </p:nvSpPr>
          <p:spPr bwMode="auto">
            <a:xfrm>
              <a:off x="3789363" y="3373438"/>
              <a:ext cx="133350" cy="265113"/>
            </a:xfrm>
            <a:custGeom>
              <a:avLst/>
              <a:gdLst>
                <a:gd name="T0" fmla="*/ 0 w 255"/>
                <a:gd name="T1" fmla="*/ 15 h 413"/>
                <a:gd name="T2" fmla="*/ 4 w 255"/>
                <a:gd name="T3" fmla="*/ 0 h 413"/>
                <a:gd name="T4" fmla="*/ 10 w 255"/>
                <a:gd name="T5" fmla="*/ 0 h 413"/>
                <a:gd name="T6" fmla="*/ 7 w 255"/>
                <a:gd name="T7" fmla="*/ 8 h 413"/>
                <a:gd name="T8" fmla="*/ 15 w 255"/>
                <a:gd name="T9" fmla="*/ 9 h 413"/>
                <a:gd name="T10" fmla="*/ 10 w 255"/>
                <a:gd name="T11" fmla="*/ 21 h 413"/>
                <a:gd name="T12" fmla="*/ 16 w 255"/>
                <a:gd name="T13" fmla="*/ 25 h 413"/>
                <a:gd name="T14" fmla="*/ 22 w 255"/>
                <a:gd name="T15" fmla="*/ 38 h 413"/>
                <a:gd name="T16" fmla="*/ 22 w 255"/>
                <a:gd name="T17" fmla="*/ 46 h 413"/>
                <a:gd name="T18" fmla="*/ 28 w 255"/>
                <a:gd name="T19" fmla="*/ 47 h 413"/>
                <a:gd name="T20" fmla="*/ 27 w 255"/>
                <a:gd name="T21" fmla="*/ 59 h 413"/>
                <a:gd name="T22" fmla="*/ 2 w 255"/>
                <a:gd name="T23" fmla="*/ 68 h 413"/>
                <a:gd name="T24" fmla="*/ 9 w 255"/>
                <a:gd name="T25" fmla="*/ 57 h 413"/>
                <a:gd name="T26" fmla="*/ 3 w 255"/>
                <a:gd name="T27" fmla="*/ 53 h 413"/>
                <a:gd name="T28" fmla="*/ 5 w 255"/>
                <a:gd name="T29" fmla="*/ 46 h 413"/>
                <a:gd name="T30" fmla="*/ 11 w 255"/>
                <a:gd name="T31" fmla="*/ 41 h 413"/>
                <a:gd name="T32" fmla="*/ 11 w 255"/>
                <a:gd name="T33" fmla="*/ 30 h 413"/>
                <a:gd name="T34" fmla="*/ 4 w 255"/>
                <a:gd name="T35" fmla="*/ 31 h 413"/>
                <a:gd name="T36" fmla="*/ 3 w 255"/>
                <a:gd name="T37" fmla="*/ 16 h 413"/>
                <a:gd name="T38" fmla="*/ 0 w 255"/>
                <a:gd name="T39" fmla="*/ 15 h 41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55" h="413">
                  <a:moveTo>
                    <a:pt x="0" y="93"/>
                  </a:moveTo>
                  <a:lnTo>
                    <a:pt x="38" y="2"/>
                  </a:lnTo>
                  <a:lnTo>
                    <a:pt x="94" y="0"/>
                  </a:lnTo>
                  <a:lnTo>
                    <a:pt x="60" y="50"/>
                  </a:lnTo>
                  <a:lnTo>
                    <a:pt x="139" y="58"/>
                  </a:lnTo>
                  <a:lnTo>
                    <a:pt x="93" y="130"/>
                  </a:lnTo>
                  <a:lnTo>
                    <a:pt x="148" y="150"/>
                  </a:lnTo>
                  <a:lnTo>
                    <a:pt x="206" y="236"/>
                  </a:lnTo>
                  <a:lnTo>
                    <a:pt x="200" y="280"/>
                  </a:lnTo>
                  <a:lnTo>
                    <a:pt x="255" y="287"/>
                  </a:lnTo>
                  <a:lnTo>
                    <a:pt x="247" y="359"/>
                  </a:lnTo>
                  <a:lnTo>
                    <a:pt x="15" y="413"/>
                  </a:lnTo>
                  <a:lnTo>
                    <a:pt x="85" y="350"/>
                  </a:lnTo>
                  <a:lnTo>
                    <a:pt x="26" y="324"/>
                  </a:lnTo>
                  <a:lnTo>
                    <a:pt x="43" y="280"/>
                  </a:lnTo>
                  <a:lnTo>
                    <a:pt x="102" y="252"/>
                  </a:lnTo>
                  <a:lnTo>
                    <a:pt x="98" y="181"/>
                  </a:lnTo>
                  <a:lnTo>
                    <a:pt x="34" y="191"/>
                  </a:lnTo>
                  <a:lnTo>
                    <a:pt x="25" y="99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0" name="Freeform 52"/>
            <p:cNvSpPr>
              <a:spLocks/>
            </p:cNvSpPr>
            <p:nvPr/>
          </p:nvSpPr>
          <p:spPr bwMode="auto">
            <a:xfrm>
              <a:off x="4038600" y="3881438"/>
              <a:ext cx="23812" cy="58738"/>
            </a:xfrm>
            <a:custGeom>
              <a:avLst/>
              <a:gdLst>
                <a:gd name="T0" fmla="*/ 0 w 51"/>
                <a:gd name="T1" fmla="*/ 2 h 92"/>
                <a:gd name="T2" fmla="*/ 1 w 51"/>
                <a:gd name="T3" fmla="*/ 13 h 92"/>
                <a:gd name="T4" fmla="*/ 2 w 51"/>
                <a:gd name="T5" fmla="*/ 15 h 92"/>
                <a:gd name="T6" fmla="*/ 4 w 51"/>
                <a:gd name="T7" fmla="*/ 5 h 92"/>
                <a:gd name="T8" fmla="*/ 3 w 51"/>
                <a:gd name="T9" fmla="*/ 0 h 92"/>
                <a:gd name="T10" fmla="*/ 0 w 51"/>
                <a:gd name="T11" fmla="*/ 2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92">
                  <a:moveTo>
                    <a:pt x="0" y="11"/>
                  </a:moveTo>
                  <a:lnTo>
                    <a:pt x="10" y="83"/>
                  </a:lnTo>
                  <a:lnTo>
                    <a:pt x="28" y="92"/>
                  </a:lnTo>
                  <a:lnTo>
                    <a:pt x="51" y="33"/>
                  </a:lnTo>
                  <a:lnTo>
                    <a:pt x="31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1" name="Freeform 53"/>
            <p:cNvSpPr>
              <a:spLocks/>
            </p:cNvSpPr>
            <p:nvPr/>
          </p:nvSpPr>
          <p:spPr bwMode="auto">
            <a:xfrm>
              <a:off x="4113213" y="3957638"/>
              <a:ext cx="53975" cy="39688"/>
            </a:xfrm>
            <a:custGeom>
              <a:avLst/>
              <a:gdLst>
                <a:gd name="T0" fmla="*/ 0 w 100"/>
                <a:gd name="T1" fmla="*/ 3 h 64"/>
                <a:gd name="T2" fmla="*/ 10 w 100"/>
                <a:gd name="T3" fmla="*/ 10 h 64"/>
                <a:gd name="T4" fmla="*/ 12 w 100"/>
                <a:gd name="T5" fmla="*/ 0 h 64"/>
                <a:gd name="T6" fmla="*/ 0 w 100"/>
                <a:gd name="T7" fmla="*/ 3 h 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0" h="64">
                  <a:moveTo>
                    <a:pt x="0" y="17"/>
                  </a:moveTo>
                  <a:lnTo>
                    <a:pt x="87" y="64"/>
                  </a:lnTo>
                  <a:lnTo>
                    <a:pt x="10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2" name="Freeform 54"/>
            <p:cNvSpPr>
              <a:spLocks/>
            </p:cNvSpPr>
            <p:nvPr/>
          </p:nvSpPr>
          <p:spPr bwMode="auto">
            <a:xfrm>
              <a:off x="3733800" y="2620963"/>
              <a:ext cx="3502025" cy="2203450"/>
            </a:xfrm>
            <a:custGeom>
              <a:avLst/>
              <a:gdLst>
                <a:gd name="T0" fmla="*/ 192 w 6610"/>
                <a:gd name="T1" fmla="*/ 477 h 3424"/>
                <a:gd name="T2" fmla="*/ 255 w 6610"/>
                <a:gd name="T3" fmla="*/ 441 h 3424"/>
                <a:gd name="T4" fmla="*/ 213 w 6610"/>
                <a:gd name="T5" fmla="*/ 404 h 3424"/>
                <a:gd name="T6" fmla="*/ 279 w 6610"/>
                <a:gd name="T7" fmla="*/ 423 h 3424"/>
                <a:gd name="T8" fmla="*/ 319 w 6610"/>
                <a:gd name="T9" fmla="*/ 525 h 3424"/>
                <a:gd name="T10" fmla="*/ 372 w 6610"/>
                <a:gd name="T11" fmla="*/ 439 h 3424"/>
                <a:gd name="T12" fmla="*/ 404 w 6610"/>
                <a:gd name="T13" fmla="*/ 534 h 3424"/>
                <a:gd name="T14" fmla="*/ 405 w 6610"/>
                <a:gd name="T15" fmla="*/ 529 h 3424"/>
                <a:gd name="T16" fmla="*/ 437 w 6610"/>
                <a:gd name="T17" fmla="*/ 504 h 3424"/>
                <a:gd name="T18" fmla="*/ 451 w 6610"/>
                <a:gd name="T19" fmla="*/ 444 h 3424"/>
                <a:gd name="T20" fmla="*/ 480 w 6610"/>
                <a:gd name="T21" fmla="*/ 345 h 3424"/>
                <a:gd name="T22" fmla="*/ 497 w 6610"/>
                <a:gd name="T23" fmla="*/ 333 h 3424"/>
                <a:gd name="T24" fmla="*/ 521 w 6610"/>
                <a:gd name="T25" fmla="*/ 306 h 3424"/>
                <a:gd name="T26" fmla="*/ 533 w 6610"/>
                <a:gd name="T27" fmla="*/ 223 h 3424"/>
                <a:gd name="T28" fmla="*/ 626 w 6610"/>
                <a:gd name="T29" fmla="*/ 163 h 3424"/>
                <a:gd name="T30" fmla="*/ 613 w 6610"/>
                <a:gd name="T31" fmla="*/ 252 h 3424"/>
                <a:gd name="T32" fmla="*/ 662 w 6610"/>
                <a:gd name="T33" fmla="*/ 180 h 3424"/>
                <a:gd name="T34" fmla="*/ 727 w 6610"/>
                <a:gd name="T35" fmla="*/ 139 h 3424"/>
                <a:gd name="T36" fmla="*/ 661 w 6610"/>
                <a:gd name="T37" fmla="*/ 99 h 3424"/>
                <a:gd name="T38" fmla="*/ 585 w 6610"/>
                <a:gd name="T39" fmla="*/ 63 h 3424"/>
                <a:gd name="T40" fmla="*/ 512 w 6610"/>
                <a:gd name="T41" fmla="*/ 54 h 3424"/>
                <a:gd name="T42" fmla="*/ 427 w 6610"/>
                <a:gd name="T43" fmla="*/ 53 h 3424"/>
                <a:gd name="T44" fmla="*/ 430 w 6610"/>
                <a:gd name="T45" fmla="*/ 9 h 3424"/>
                <a:gd name="T46" fmla="*/ 354 w 6610"/>
                <a:gd name="T47" fmla="*/ 45 h 3424"/>
                <a:gd name="T48" fmla="*/ 323 w 6610"/>
                <a:gd name="T49" fmla="*/ 77 h 3424"/>
                <a:gd name="T50" fmla="*/ 304 w 6610"/>
                <a:gd name="T51" fmla="*/ 109 h 3424"/>
                <a:gd name="T52" fmla="*/ 286 w 6610"/>
                <a:gd name="T53" fmla="*/ 104 h 3424"/>
                <a:gd name="T54" fmla="*/ 233 w 6610"/>
                <a:gd name="T55" fmla="*/ 97 h 3424"/>
                <a:gd name="T56" fmla="*/ 181 w 6610"/>
                <a:gd name="T57" fmla="*/ 130 h 3424"/>
                <a:gd name="T58" fmla="*/ 163 w 6610"/>
                <a:gd name="T59" fmla="*/ 127 h 3424"/>
                <a:gd name="T60" fmla="*/ 152 w 6610"/>
                <a:gd name="T61" fmla="*/ 87 h 3424"/>
                <a:gd name="T62" fmla="*/ 120 w 6610"/>
                <a:gd name="T63" fmla="*/ 87 h 3424"/>
                <a:gd name="T64" fmla="*/ 92 w 6610"/>
                <a:gd name="T65" fmla="*/ 106 h 3424"/>
                <a:gd name="T66" fmla="*/ 53 w 6610"/>
                <a:gd name="T67" fmla="*/ 171 h 3424"/>
                <a:gd name="T68" fmla="*/ 82 w 6610"/>
                <a:gd name="T69" fmla="*/ 208 h 3424"/>
                <a:gd name="T70" fmla="*/ 103 w 6610"/>
                <a:gd name="T71" fmla="*/ 180 h 3424"/>
                <a:gd name="T72" fmla="*/ 123 w 6610"/>
                <a:gd name="T73" fmla="*/ 126 h 3424"/>
                <a:gd name="T74" fmla="*/ 136 w 6610"/>
                <a:gd name="T75" fmla="*/ 174 h 3424"/>
                <a:gd name="T76" fmla="*/ 112 w 6610"/>
                <a:gd name="T77" fmla="*/ 206 h 3424"/>
                <a:gd name="T78" fmla="*/ 81 w 6610"/>
                <a:gd name="T79" fmla="*/ 225 h 3424"/>
                <a:gd name="T80" fmla="*/ 65 w 6610"/>
                <a:gd name="T81" fmla="*/ 205 h 3424"/>
                <a:gd name="T82" fmla="*/ 52 w 6610"/>
                <a:gd name="T83" fmla="*/ 246 h 3424"/>
                <a:gd name="T84" fmla="*/ 18 w 6610"/>
                <a:gd name="T85" fmla="*/ 270 h 3424"/>
                <a:gd name="T86" fmla="*/ 28 w 6610"/>
                <a:gd name="T87" fmla="*/ 306 h 3424"/>
                <a:gd name="T88" fmla="*/ 8 w 6610"/>
                <a:gd name="T89" fmla="*/ 349 h 3424"/>
                <a:gd name="T90" fmla="*/ 46 w 6610"/>
                <a:gd name="T91" fmla="*/ 318 h 3424"/>
                <a:gd name="T92" fmla="*/ 67 w 6610"/>
                <a:gd name="T93" fmla="*/ 299 h 3424"/>
                <a:gd name="T94" fmla="*/ 97 w 6610"/>
                <a:gd name="T95" fmla="*/ 336 h 3424"/>
                <a:gd name="T96" fmla="*/ 80 w 6610"/>
                <a:gd name="T97" fmla="*/ 293 h 3424"/>
                <a:gd name="T98" fmla="*/ 109 w 6610"/>
                <a:gd name="T99" fmla="*/ 332 h 3424"/>
                <a:gd name="T100" fmla="*/ 119 w 6610"/>
                <a:gd name="T101" fmla="*/ 353 h 3424"/>
                <a:gd name="T102" fmla="*/ 136 w 6610"/>
                <a:gd name="T103" fmla="*/ 323 h 3424"/>
                <a:gd name="T104" fmla="*/ 152 w 6610"/>
                <a:gd name="T105" fmla="*/ 283 h 3424"/>
                <a:gd name="T106" fmla="*/ 170 w 6610"/>
                <a:gd name="T107" fmla="*/ 292 h 3424"/>
                <a:gd name="T108" fmla="*/ 174 w 6610"/>
                <a:gd name="T109" fmla="*/ 283 h 3424"/>
                <a:gd name="T110" fmla="*/ 164 w 6610"/>
                <a:gd name="T111" fmla="*/ 315 h 3424"/>
                <a:gd name="T112" fmla="*/ 134 w 6610"/>
                <a:gd name="T113" fmla="*/ 341 h 3424"/>
                <a:gd name="T114" fmla="*/ 168 w 6610"/>
                <a:gd name="T115" fmla="*/ 351 h 342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6610" h="3424">
                  <a:moveTo>
                    <a:pt x="1379" y="2416"/>
                  </a:moveTo>
                  <a:lnTo>
                    <a:pt x="1467" y="2426"/>
                  </a:lnTo>
                  <a:lnTo>
                    <a:pt x="1579" y="2635"/>
                  </a:lnTo>
                  <a:lnTo>
                    <a:pt x="1663" y="2790"/>
                  </a:lnTo>
                  <a:lnTo>
                    <a:pt x="1723" y="2903"/>
                  </a:lnTo>
                  <a:lnTo>
                    <a:pt x="1749" y="3035"/>
                  </a:lnTo>
                  <a:lnTo>
                    <a:pt x="1917" y="2989"/>
                  </a:lnTo>
                  <a:lnTo>
                    <a:pt x="2127" y="2881"/>
                  </a:lnTo>
                  <a:lnTo>
                    <a:pt x="2221" y="2809"/>
                  </a:lnTo>
                  <a:lnTo>
                    <a:pt x="2286" y="2682"/>
                  </a:lnTo>
                  <a:lnTo>
                    <a:pt x="2163" y="2550"/>
                  </a:lnTo>
                  <a:lnTo>
                    <a:pt x="2093" y="2619"/>
                  </a:lnTo>
                  <a:lnTo>
                    <a:pt x="2040" y="2618"/>
                  </a:lnTo>
                  <a:lnTo>
                    <a:pt x="1989" y="2596"/>
                  </a:lnTo>
                  <a:lnTo>
                    <a:pt x="1909" y="2457"/>
                  </a:lnTo>
                  <a:lnTo>
                    <a:pt x="1899" y="2404"/>
                  </a:lnTo>
                  <a:lnTo>
                    <a:pt x="1964" y="2398"/>
                  </a:lnTo>
                  <a:lnTo>
                    <a:pt x="2012" y="2481"/>
                  </a:lnTo>
                  <a:lnTo>
                    <a:pt x="2208" y="2563"/>
                  </a:lnTo>
                  <a:lnTo>
                    <a:pt x="2509" y="2574"/>
                  </a:lnTo>
                  <a:lnTo>
                    <a:pt x="2637" y="2745"/>
                  </a:lnTo>
                  <a:lnTo>
                    <a:pt x="2685" y="2732"/>
                  </a:lnTo>
                  <a:lnTo>
                    <a:pt x="2764" y="2931"/>
                  </a:lnTo>
                  <a:lnTo>
                    <a:pt x="2793" y="3047"/>
                  </a:lnTo>
                  <a:lnTo>
                    <a:pt x="2868" y="3195"/>
                  </a:lnTo>
                  <a:lnTo>
                    <a:pt x="2949" y="3121"/>
                  </a:lnTo>
                  <a:lnTo>
                    <a:pt x="2966" y="2929"/>
                  </a:lnTo>
                  <a:lnTo>
                    <a:pt x="3222" y="2695"/>
                  </a:lnTo>
                  <a:lnTo>
                    <a:pt x="3294" y="2707"/>
                  </a:lnTo>
                  <a:lnTo>
                    <a:pt x="3339" y="2674"/>
                  </a:lnTo>
                  <a:lnTo>
                    <a:pt x="3435" y="2832"/>
                  </a:lnTo>
                  <a:lnTo>
                    <a:pt x="3432" y="2913"/>
                  </a:lnTo>
                  <a:lnTo>
                    <a:pt x="3513" y="2865"/>
                  </a:lnTo>
                  <a:lnTo>
                    <a:pt x="3564" y="3189"/>
                  </a:lnTo>
                  <a:lnTo>
                    <a:pt x="3631" y="3251"/>
                  </a:lnTo>
                  <a:lnTo>
                    <a:pt x="3667" y="3375"/>
                  </a:lnTo>
                  <a:lnTo>
                    <a:pt x="3751" y="3424"/>
                  </a:lnTo>
                  <a:lnTo>
                    <a:pt x="3752" y="3424"/>
                  </a:lnTo>
                  <a:lnTo>
                    <a:pt x="3737" y="3303"/>
                  </a:lnTo>
                  <a:lnTo>
                    <a:pt x="3640" y="3222"/>
                  </a:lnTo>
                  <a:lnTo>
                    <a:pt x="3594" y="3121"/>
                  </a:lnTo>
                  <a:lnTo>
                    <a:pt x="3627" y="3001"/>
                  </a:lnTo>
                  <a:lnTo>
                    <a:pt x="3737" y="3106"/>
                  </a:lnTo>
                  <a:lnTo>
                    <a:pt x="3784" y="3177"/>
                  </a:lnTo>
                  <a:lnTo>
                    <a:pt x="3926" y="3070"/>
                  </a:lnTo>
                  <a:lnTo>
                    <a:pt x="3912" y="2940"/>
                  </a:lnTo>
                  <a:lnTo>
                    <a:pt x="3803" y="2815"/>
                  </a:lnTo>
                  <a:lnTo>
                    <a:pt x="3887" y="2716"/>
                  </a:lnTo>
                  <a:lnTo>
                    <a:pt x="3956" y="2764"/>
                  </a:lnTo>
                  <a:lnTo>
                    <a:pt x="4048" y="2702"/>
                  </a:lnTo>
                  <a:lnTo>
                    <a:pt x="4240" y="2600"/>
                  </a:lnTo>
                  <a:lnTo>
                    <a:pt x="4344" y="2338"/>
                  </a:lnTo>
                  <a:lnTo>
                    <a:pt x="4259" y="2215"/>
                  </a:lnTo>
                  <a:lnTo>
                    <a:pt x="4370" y="2117"/>
                  </a:lnTo>
                  <a:lnTo>
                    <a:pt x="4311" y="2097"/>
                  </a:lnTo>
                  <a:lnTo>
                    <a:pt x="4252" y="2122"/>
                  </a:lnTo>
                  <a:lnTo>
                    <a:pt x="4203" y="2073"/>
                  </a:lnTo>
                  <a:lnTo>
                    <a:pt x="4340" y="1965"/>
                  </a:lnTo>
                  <a:lnTo>
                    <a:pt x="4324" y="2060"/>
                  </a:lnTo>
                  <a:lnTo>
                    <a:pt x="4465" y="2026"/>
                  </a:lnTo>
                  <a:lnTo>
                    <a:pt x="4502" y="2097"/>
                  </a:lnTo>
                  <a:lnTo>
                    <a:pt x="4490" y="2235"/>
                  </a:lnTo>
                  <a:lnTo>
                    <a:pt x="4601" y="2167"/>
                  </a:lnTo>
                  <a:lnTo>
                    <a:pt x="4531" y="2016"/>
                  </a:lnTo>
                  <a:lnTo>
                    <a:pt x="4675" y="1864"/>
                  </a:lnTo>
                  <a:lnTo>
                    <a:pt x="4725" y="1898"/>
                  </a:lnTo>
                  <a:lnTo>
                    <a:pt x="4955" y="1645"/>
                  </a:lnTo>
                  <a:lnTo>
                    <a:pt x="4995" y="1476"/>
                  </a:lnTo>
                  <a:lnTo>
                    <a:pt x="4937" y="1378"/>
                  </a:lnTo>
                  <a:lnTo>
                    <a:pt x="4787" y="1354"/>
                  </a:lnTo>
                  <a:lnTo>
                    <a:pt x="5032" y="1131"/>
                  </a:lnTo>
                  <a:lnTo>
                    <a:pt x="5233" y="1129"/>
                  </a:lnTo>
                  <a:lnTo>
                    <a:pt x="5436" y="1135"/>
                  </a:lnTo>
                  <a:lnTo>
                    <a:pt x="5515" y="1003"/>
                  </a:lnTo>
                  <a:lnTo>
                    <a:pt x="5620" y="989"/>
                  </a:lnTo>
                  <a:lnTo>
                    <a:pt x="5612" y="1062"/>
                  </a:lnTo>
                  <a:lnTo>
                    <a:pt x="5745" y="972"/>
                  </a:lnTo>
                  <a:lnTo>
                    <a:pt x="5501" y="1202"/>
                  </a:lnTo>
                  <a:lnTo>
                    <a:pt x="5470" y="1258"/>
                  </a:lnTo>
                  <a:lnTo>
                    <a:pt x="5501" y="1534"/>
                  </a:lnTo>
                  <a:lnTo>
                    <a:pt x="5677" y="1356"/>
                  </a:lnTo>
                  <a:lnTo>
                    <a:pt x="5671" y="1190"/>
                  </a:lnTo>
                  <a:lnTo>
                    <a:pt x="5723" y="1098"/>
                  </a:lnTo>
                  <a:lnTo>
                    <a:pt x="5878" y="1060"/>
                  </a:lnTo>
                  <a:lnTo>
                    <a:pt x="5947" y="1097"/>
                  </a:lnTo>
                  <a:lnTo>
                    <a:pt x="6174" y="958"/>
                  </a:lnTo>
                  <a:lnTo>
                    <a:pt x="6248" y="927"/>
                  </a:lnTo>
                  <a:lnTo>
                    <a:pt x="6220" y="844"/>
                  </a:lnTo>
                  <a:lnTo>
                    <a:pt x="6317" y="790"/>
                  </a:lnTo>
                  <a:lnTo>
                    <a:pt x="6523" y="849"/>
                  </a:lnTo>
                  <a:lnTo>
                    <a:pt x="6610" y="755"/>
                  </a:lnTo>
                  <a:lnTo>
                    <a:pt x="6422" y="665"/>
                  </a:lnTo>
                  <a:lnTo>
                    <a:pt x="6211" y="558"/>
                  </a:lnTo>
                  <a:lnTo>
                    <a:pt x="5958" y="520"/>
                  </a:lnTo>
                  <a:lnTo>
                    <a:pt x="5939" y="599"/>
                  </a:lnTo>
                  <a:lnTo>
                    <a:pt x="5832" y="556"/>
                  </a:lnTo>
                  <a:lnTo>
                    <a:pt x="5656" y="565"/>
                  </a:lnTo>
                  <a:lnTo>
                    <a:pt x="5569" y="467"/>
                  </a:lnTo>
                  <a:lnTo>
                    <a:pt x="5362" y="474"/>
                  </a:lnTo>
                  <a:lnTo>
                    <a:pt x="5256" y="385"/>
                  </a:lnTo>
                  <a:lnTo>
                    <a:pt x="4981" y="342"/>
                  </a:lnTo>
                  <a:lnTo>
                    <a:pt x="4878" y="449"/>
                  </a:lnTo>
                  <a:lnTo>
                    <a:pt x="4703" y="397"/>
                  </a:lnTo>
                  <a:lnTo>
                    <a:pt x="4658" y="481"/>
                  </a:lnTo>
                  <a:lnTo>
                    <a:pt x="4596" y="329"/>
                  </a:lnTo>
                  <a:lnTo>
                    <a:pt x="4395" y="280"/>
                  </a:lnTo>
                  <a:lnTo>
                    <a:pt x="4387" y="329"/>
                  </a:lnTo>
                  <a:lnTo>
                    <a:pt x="4141" y="284"/>
                  </a:lnTo>
                  <a:lnTo>
                    <a:pt x="3977" y="287"/>
                  </a:lnTo>
                  <a:lnTo>
                    <a:pt x="3828" y="322"/>
                  </a:lnTo>
                  <a:lnTo>
                    <a:pt x="4053" y="193"/>
                  </a:lnTo>
                  <a:lnTo>
                    <a:pt x="4076" y="135"/>
                  </a:lnTo>
                  <a:lnTo>
                    <a:pt x="3987" y="72"/>
                  </a:lnTo>
                  <a:lnTo>
                    <a:pt x="3821" y="94"/>
                  </a:lnTo>
                  <a:lnTo>
                    <a:pt x="3858" y="56"/>
                  </a:lnTo>
                  <a:lnTo>
                    <a:pt x="3756" y="0"/>
                  </a:lnTo>
                  <a:lnTo>
                    <a:pt x="3573" y="108"/>
                  </a:lnTo>
                  <a:lnTo>
                    <a:pt x="3402" y="135"/>
                  </a:lnTo>
                  <a:lnTo>
                    <a:pt x="3211" y="196"/>
                  </a:lnTo>
                  <a:lnTo>
                    <a:pt x="3178" y="273"/>
                  </a:lnTo>
                  <a:lnTo>
                    <a:pt x="2974" y="293"/>
                  </a:lnTo>
                  <a:lnTo>
                    <a:pt x="2990" y="372"/>
                  </a:lnTo>
                  <a:lnTo>
                    <a:pt x="3069" y="421"/>
                  </a:lnTo>
                  <a:lnTo>
                    <a:pt x="2904" y="377"/>
                  </a:lnTo>
                  <a:lnTo>
                    <a:pt x="2904" y="467"/>
                  </a:lnTo>
                  <a:lnTo>
                    <a:pt x="2817" y="445"/>
                  </a:lnTo>
                  <a:lnTo>
                    <a:pt x="2790" y="380"/>
                  </a:lnTo>
                  <a:lnTo>
                    <a:pt x="2724" y="427"/>
                  </a:lnTo>
                  <a:lnTo>
                    <a:pt x="2768" y="481"/>
                  </a:lnTo>
                  <a:lnTo>
                    <a:pt x="2728" y="665"/>
                  </a:lnTo>
                  <a:lnTo>
                    <a:pt x="2679" y="336"/>
                  </a:lnTo>
                  <a:lnTo>
                    <a:pt x="2604" y="336"/>
                  </a:lnTo>
                  <a:lnTo>
                    <a:pt x="2522" y="548"/>
                  </a:lnTo>
                  <a:lnTo>
                    <a:pt x="2596" y="597"/>
                  </a:lnTo>
                  <a:lnTo>
                    <a:pt x="2570" y="632"/>
                  </a:lnTo>
                  <a:lnTo>
                    <a:pt x="2434" y="554"/>
                  </a:lnTo>
                  <a:lnTo>
                    <a:pt x="2325" y="533"/>
                  </a:lnTo>
                  <a:lnTo>
                    <a:pt x="2325" y="592"/>
                  </a:lnTo>
                  <a:lnTo>
                    <a:pt x="2119" y="635"/>
                  </a:lnTo>
                  <a:lnTo>
                    <a:pt x="2089" y="592"/>
                  </a:lnTo>
                  <a:lnTo>
                    <a:pt x="1899" y="674"/>
                  </a:lnTo>
                  <a:lnTo>
                    <a:pt x="1768" y="627"/>
                  </a:lnTo>
                  <a:lnTo>
                    <a:pt x="1769" y="773"/>
                  </a:lnTo>
                  <a:lnTo>
                    <a:pt x="1711" y="731"/>
                  </a:lnTo>
                  <a:lnTo>
                    <a:pt x="1628" y="789"/>
                  </a:lnTo>
                  <a:lnTo>
                    <a:pt x="1663" y="847"/>
                  </a:lnTo>
                  <a:lnTo>
                    <a:pt x="1524" y="834"/>
                  </a:lnTo>
                  <a:lnTo>
                    <a:pt x="1554" y="893"/>
                  </a:lnTo>
                  <a:lnTo>
                    <a:pt x="1456" y="847"/>
                  </a:lnTo>
                  <a:lnTo>
                    <a:pt x="1461" y="773"/>
                  </a:lnTo>
                  <a:lnTo>
                    <a:pt x="1366" y="702"/>
                  </a:lnTo>
                  <a:lnTo>
                    <a:pt x="1595" y="758"/>
                  </a:lnTo>
                  <a:lnTo>
                    <a:pt x="1666" y="669"/>
                  </a:lnTo>
                  <a:lnTo>
                    <a:pt x="1493" y="575"/>
                  </a:lnTo>
                  <a:lnTo>
                    <a:pt x="1363" y="530"/>
                  </a:lnTo>
                  <a:lnTo>
                    <a:pt x="1257" y="516"/>
                  </a:lnTo>
                  <a:lnTo>
                    <a:pt x="1332" y="500"/>
                  </a:lnTo>
                  <a:lnTo>
                    <a:pt x="1223" y="455"/>
                  </a:lnTo>
                  <a:lnTo>
                    <a:pt x="1134" y="463"/>
                  </a:lnTo>
                  <a:lnTo>
                    <a:pt x="1075" y="527"/>
                  </a:lnTo>
                  <a:lnTo>
                    <a:pt x="1023" y="506"/>
                  </a:lnTo>
                  <a:lnTo>
                    <a:pt x="953" y="572"/>
                  </a:lnTo>
                  <a:lnTo>
                    <a:pt x="911" y="556"/>
                  </a:lnTo>
                  <a:lnTo>
                    <a:pt x="892" y="603"/>
                  </a:lnTo>
                  <a:lnTo>
                    <a:pt x="826" y="643"/>
                  </a:lnTo>
                  <a:lnTo>
                    <a:pt x="718" y="811"/>
                  </a:lnTo>
                  <a:lnTo>
                    <a:pt x="632" y="883"/>
                  </a:lnTo>
                  <a:lnTo>
                    <a:pt x="478" y="977"/>
                  </a:lnTo>
                  <a:lnTo>
                    <a:pt x="558" y="1011"/>
                  </a:lnTo>
                  <a:lnTo>
                    <a:pt x="476" y="1042"/>
                  </a:lnTo>
                  <a:lnTo>
                    <a:pt x="496" y="1167"/>
                  </a:lnTo>
                  <a:lnTo>
                    <a:pt x="576" y="1183"/>
                  </a:lnTo>
                  <a:lnTo>
                    <a:pt x="659" y="1098"/>
                  </a:lnTo>
                  <a:lnTo>
                    <a:pt x="697" y="1223"/>
                  </a:lnTo>
                  <a:lnTo>
                    <a:pt x="734" y="1264"/>
                  </a:lnTo>
                  <a:lnTo>
                    <a:pt x="730" y="1321"/>
                  </a:lnTo>
                  <a:lnTo>
                    <a:pt x="833" y="1285"/>
                  </a:lnTo>
                  <a:lnTo>
                    <a:pt x="864" y="1170"/>
                  </a:lnTo>
                  <a:lnTo>
                    <a:pt x="841" y="1158"/>
                  </a:lnTo>
                  <a:lnTo>
                    <a:pt x="929" y="1097"/>
                  </a:lnTo>
                  <a:lnTo>
                    <a:pt x="879" y="1060"/>
                  </a:lnTo>
                  <a:lnTo>
                    <a:pt x="879" y="958"/>
                  </a:lnTo>
                  <a:lnTo>
                    <a:pt x="1023" y="850"/>
                  </a:lnTo>
                  <a:lnTo>
                    <a:pt x="1030" y="780"/>
                  </a:lnTo>
                  <a:lnTo>
                    <a:pt x="1102" y="768"/>
                  </a:lnTo>
                  <a:lnTo>
                    <a:pt x="1153" y="823"/>
                  </a:lnTo>
                  <a:lnTo>
                    <a:pt x="1004" y="944"/>
                  </a:lnTo>
                  <a:lnTo>
                    <a:pt x="1010" y="1058"/>
                  </a:lnTo>
                  <a:lnTo>
                    <a:pt x="1067" y="1098"/>
                  </a:lnTo>
                  <a:lnTo>
                    <a:pt x="1225" y="1060"/>
                  </a:lnTo>
                  <a:lnTo>
                    <a:pt x="1307" y="1096"/>
                  </a:lnTo>
                  <a:lnTo>
                    <a:pt x="1086" y="1126"/>
                  </a:lnTo>
                  <a:lnTo>
                    <a:pt x="1103" y="1248"/>
                  </a:lnTo>
                  <a:lnTo>
                    <a:pt x="1053" y="1205"/>
                  </a:lnTo>
                  <a:lnTo>
                    <a:pt x="1004" y="1252"/>
                  </a:lnTo>
                  <a:lnTo>
                    <a:pt x="1002" y="1323"/>
                  </a:lnTo>
                  <a:lnTo>
                    <a:pt x="956" y="1367"/>
                  </a:lnTo>
                  <a:lnTo>
                    <a:pt x="879" y="1353"/>
                  </a:lnTo>
                  <a:lnTo>
                    <a:pt x="773" y="1401"/>
                  </a:lnTo>
                  <a:lnTo>
                    <a:pt x="724" y="1367"/>
                  </a:lnTo>
                  <a:lnTo>
                    <a:pt x="668" y="1371"/>
                  </a:lnTo>
                  <a:lnTo>
                    <a:pt x="621" y="1347"/>
                  </a:lnTo>
                  <a:lnTo>
                    <a:pt x="665" y="1279"/>
                  </a:lnTo>
                  <a:lnTo>
                    <a:pt x="652" y="1207"/>
                  </a:lnTo>
                  <a:lnTo>
                    <a:pt x="584" y="1248"/>
                  </a:lnTo>
                  <a:lnTo>
                    <a:pt x="576" y="1313"/>
                  </a:lnTo>
                  <a:lnTo>
                    <a:pt x="594" y="1420"/>
                  </a:lnTo>
                  <a:lnTo>
                    <a:pt x="565" y="1405"/>
                  </a:lnTo>
                  <a:lnTo>
                    <a:pt x="490" y="1426"/>
                  </a:lnTo>
                  <a:lnTo>
                    <a:pt x="471" y="1497"/>
                  </a:lnTo>
                  <a:lnTo>
                    <a:pt x="369" y="1534"/>
                  </a:lnTo>
                  <a:lnTo>
                    <a:pt x="329" y="1598"/>
                  </a:lnTo>
                  <a:lnTo>
                    <a:pt x="249" y="1587"/>
                  </a:lnTo>
                  <a:lnTo>
                    <a:pt x="263" y="1637"/>
                  </a:lnTo>
                  <a:lnTo>
                    <a:pt x="158" y="1642"/>
                  </a:lnTo>
                  <a:lnTo>
                    <a:pt x="168" y="1673"/>
                  </a:lnTo>
                  <a:lnTo>
                    <a:pt x="254" y="1696"/>
                  </a:lnTo>
                  <a:lnTo>
                    <a:pt x="244" y="1719"/>
                  </a:lnTo>
                  <a:lnTo>
                    <a:pt x="289" y="1788"/>
                  </a:lnTo>
                  <a:lnTo>
                    <a:pt x="254" y="1865"/>
                  </a:lnTo>
                  <a:lnTo>
                    <a:pt x="43" y="1855"/>
                  </a:lnTo>
                  <a:lnTo>
                    <a:pt x="7" y="1881"/>
                  </a:lnTo>
                  <a:lnTo>
                    <a:pt x="0" y="2058"/>
                  </a:lnTo>
                  <a:lnTo>
                    <a:pt x="21" y="2125"/>
                  </a:lnTo>
                  <a:lnTo>
                    <a:pt x="70" y="2122"/>
                  </a:lnTo>
                  <a:lnTo>
                    <a:pt x="246" y="2136"/>
                  </a:lnTo>
                  <a:lnTo>
                    <a:pt x="315" y="2063"/>
                  </a:lnTo>
                  <a:lnTo>
                    <a:pt x="303" y="2031"/>
                  </a:lnTo>
                  <a:lnTo>
                    <a:pt x="339" y="1973"/>
                  </a:lnTo>
                  <a:lnTo>
                    <a:pt x="413" y="1933"/>
                  </a:lnTo>
                  <a:lnTo>
                    <a:pt x="413" y="1872"/>
                  </a:lnTo>
                  <a:lnTo>
                    <a:pt x="441" y="1861"/>
                  </a:lnTo>
                  <a:lnTo>
                    <a:pt x="514" y="1878"/>
                  </a:lnTo>
                  <a:lnTo>
                    <a:pt x="558" y="1848"/>
                  </a:lnTo>
                  <a:lnTo>
                    <a:pt x="602" y="1820"/>
                  </a:lnTo>
                  <a:lnTo>
                    <a:pt x="644" y="1840"/>
                  </a:lnTo>
                  <a:lnTo>
                    <a:pt x="677" y="1907"/>
                  </a:lnTo>
                  <a:lnTo>
                    <a:pt x="826" y="2001"/>
                  </a:lnTo>
                  <a:lnTo>
                    <a:pt x="841" y="2089"/>
                  </a:lnTo>
                  <a:lnTo>
                    <a:pt x="874" y="2045"/>
                  </a:lnTo>
                  <a:lnTo>
                    <a:pt x="864" y="1992"/>
                  </a:lnTo>
                  <a:lnTo>
                    <a:pt x="922" y="2001"/>
                  </a:lnTo>
                  <a:lnTo>
                    <a:pt x="796" y="1917"/>
                  </a:lnTo>
                  <a:lnTo>
                    <a:pt x="720" y="1833"/>
                  </a:lnTo>
                  <a:lnTo>
                    <a:pt x="716" y="1780"/>
                  </a:lnTo>
                  <a:lnTo>
                    <a:pt x="789" y="1784"/>
                  </a:lnTo>
                  <a:lnTo>
                    <a:pt x="840" y="1861"/>
                  </a:lnTo>
                  <a:lnTo>
                    <a:pt x="949" y="1929"/>
                  </a:lnTo>
                  <a:lnTo>
                    <a:pt x="949" y="1988"/>
                  </a:lnTo>
                  <a:lnTo>
                    <a:pt x="978" y="2019"/>
                  </a:lnTo>
                  <a:lnTo>
                    <a:pt x="1006" y="2075"/>
                  </a:lnTo>
                  <a:lnTo>
                    <a:pt x="1074" y="2085"/>
                  </a:lnTo>
                  <a:lnTo>
                    <a:pt x="1005" y="2096"/>
                  </a:lnTo>
                  <a:lnTo>
                    <a:pt x="1027" y="2136"/>
                  </a:lnTo>
                  <a:lnTo>
                    <a:pt x="1072" y="2147"/>
                  </a:lnTo>
                  <a:lnTo>
                    <a:pt x="1102" y="2082"/>
                  </a:lnTo>
                  <a:lnTo>
                    <a:pt x="1055" y="2051"/>
                  </a:lnTo>
                  <a:lnTo>
                    <a:pt x="1079" y="2038"/>
                  </a:lnTo>
                  <a:lnTo>
                    <a:pt x="1059" y="1981"/>
                  </a:lnTo>
                  <a:lnTo>
                    <a:pt x="1225" y="1965"/>
                  </a:lnTo>
                  <a:lnTo>
                    <a:pt x="1219" y="1904"/>
                  </a:lnTo>
                  <a:lnTo>
                    <a:pt x="1257" y="1849"/>
                  </a:lnTo>
                  <a:lnTo>
                    <a:pt x="1290" y="1782"/>
                  </a:lnTo>
                  <a:lnTo>
                    <a:pt x="1306" y="1736"/>
                  </a:lnTo>
                  <a:lnTo>
                    <a:pt x="1366" y="1719"/>
                  </a:lnTo>
                  <a:lnTo>
                    <a:pt x="1363" y="1744"/>
                  </a:lnTo>
                  <a:lnTo>
                    <a:pt x="1424" y="1749"/>
                  </a:lnTo>
                  <a:lnTo>
                    <a:pt x="1387" y="1778"/>
                  </a:lnTo>
                  <a:lnTo>
                    <a:pt x="1434" y="1818"/>
                  </a:lnTo>
                  <a:lnTo>
                    <a:pt x="1522" y="1776"/>
                  </a:lnTo>
                  <a:lnTo>
                    <a:pt x="1470" y="1784"/>
                  </a:lnTo>
                  <a:lnTo>
                    <a:pt x="1468" y="1759"/>
                  </a:lnTo>
                  <a:lnTo>
                    <a:pt x="1473" y="1734"/>
                  </a:lnTo>
                  <a:lnTo>
                    <a:pt x="1605" y="1695"/>
                  </a:lnTo>
                  <a:lnTo>
                    <a:pt x="1562" y="1722"/>
                  </a:lnTo>
                  <a:lnTo>
                    <a:pt x="1522" y="1788"/>
                  </a:lnTo>
                  <a:lnTo>
                    <a:pt x="1678" y="1887"/>
                  </a:lnTo>
                  <a:lnTo>
                    <a:pt x="1683" y="1941"/>
                  </a:lnTo>
                  <a:lnTo>
                    <a:pt x="1570" y="1966"/>
                  </a:lnTo>
                  <a:lnTo>
                    <a:pt x="1473" y="1917"/>
                  </a:lnTo>
                  <a:lnTo>
                    <a:pt x="1341" y="1961"/>
                  </a:lnTo>
                  <a:lnTo>
                    <a:pt x="1279" y="1955"/>
                  </a:lnTo>
                  <a:lnTo>
                    <a:pt x="1298" y="1975"/>
                  </a:lnTo>
                  <a:lnTo>
                    <a:pt x="1179" y="2007"/>
                  </a:lnTo>
                  <a:lnTo>
                    <a:pt x="1209" y="2073"/>
                  </a:lnTo>
                  <a:lnTo>
                    <a:pt x="1218" y="2142"/>
                  </a:lnTo>
                  <a:lnTo>
                    <a:pt x="1298" y="2158"/>
                  </a:lnTo>
                  <a:lnTo>
                    <a:pt x="1334" y="2135"/>
                  </a:lnTo>
                  <a:lnTo>
                    <a:pt x="1399" y="2166"/>
                  </a:lnTo>
                  <a:lnTo>
                    <a:pt x="1505" y="2135"/>
                  </a:lnTo>
                  <a:lnTo>
                    <a:pt x="1499" y="2218"/>
                  </a:lnTo>
                  <a:lnTo>
                    <a:pt x="1434" y="2353"/>
                  </a:lnTo>
                  <a:lnTo>
                    <a:pt x="1324" y="2340"/>
                  </a:lnTo>
                  <a:lnTo>
                    <a:pt x="1379" y="2416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3" name="Freeform 55"/>
            <p:cNvSpPr>
              <a:spLocks/>
            </p:cNvSpPr>
            <p:nvPr/>
          </p:nvSpPr>
          <p:spPr bwMode="auto">
            <a:xfrm>
              <a:off x="2617788" y="2324100"/>
              <a:ext cx="1062037" cy="996950"/>
            </a:xfrm>
            <a:custGeom>
              <a:avLst/>
              <a:gdLst>
                <a:gd name="T0" fmla="*/ 1 w 2007"/>
                <a:gd name="T1" fmla="*/ 66 h 1551"/>
                <a:gd name="T2" fmla="*/ 25 w 2007"/>
                <a:gd name="T3" fmla="*/ 60 h 1551"/>
                <a:gd name="T4" fmla="*/ 26 w 2007"/>
                <a:gd name="T5" fmla="*/ 48 h 1551"/>
                <a:gd name="T6" fmla="*/ 32 w 2007"/>
                <a:gd name="T7" fmla="*/ 32 h 1551"/>
                <a:gd name="T8" fmla="*/ 41 w 2007"/>
                <a:gd name="T9" fmla="*/ 23 h 1551"/>
                <a:gd name="T10" fmla="*/ 47 w 2007"/>
                <a:gd name="T11" fmla="*/ 21 h 1551"/>
                <a:gd name="T12" fmla="*/ 71 w 2007"/>
                <a:gd name="T13" fmla="*/ 20 h 1551"/>
                <a:gd name="T14" fmla="*/ 80 w 2007"/>
                <a:gd name="T15" fmla="*/ 13 h 1551"/>
                <a:gd name="T16" fmla="*/ 116 w 2007"/>
                <a:gd name="T17" fmla="*/ 16 h 1551"/>
                <a:gd name="T18" fmla="*/ 107 w 2007"/>
                <a:gd name="T19" fmla="*/ 3 h 1551"/>
                <a:gd name="T20" fmla="*/ 127 w 2007"/>
                <a:gd name="T21" fmla="*/ 4 h 1551"/>
                <a:gd name="T22" fmla="*/ 163 w 2007"/>
                <a:gd name="T23" fmla="*/ 3 h 1551"/>
                <a:gd name="T24" fmla="*/ 187 w 2007"/>
                <a:gd name="T25" fmla="*/ 12 h 1551"/>
                <a:gd name="T26" fmla="*/ 143 w 2007"/>
                <a:gd name="T27" fmla="*/ 26 h 1551"/>
                <a:gd name="T28" fmla="*/ 166 w 2007"/>
                <a:gd name="T29" fmla="*/ 28 h 1551"/>
                <a:gd name="T30" fmla="*/ 185 w 2007"/>
                <a:gd name="T31" fmla="*/ 28 h 1551"/>
                <a:gd name="T32" fmla="*/ 193 w 2007"/>
                <a:gd name="T33" fmla="*/ 28 h 1551"/>
                <a:gd name="T34" fmla="*/ 212 w 2007"/>
                <a:gd name="T35" fmla="*/ 22 h 1551"/>
                <a:gd name="T36" fmla="*/ 213 w 2007"/>
                <a:gd name="T37" fmla="*/ 36 h 1551"/>
                <a:gd name="T38" fmla="*/ 209 w 2007"/>
                <a:gd name="T39" fmla="*/ 41 h 1551"/>
                <a:gd name="T40" fmla="*/ 198 w 2007"/>
                <a:gd name="T41" fmla="*/ 57 h 1551"/>
                <a:gd name="T42" fmla="*/ 197 w 2007"/>
                <a:gd name="T43" fmla="*/ 75 h 1551"/>
                <a:gd name="T44" fmla="*/ 201 w 2007"/>
                <a:gd name="T45" fmla="*/ 81 h 1551"/>
                <a:gd name="T46" fmla="*/ 195 w 2007"/>
                <a:gd name="T47" fmla="*/ 94 h 1551"/>
                <a:gd name="T48" fmla="*/ 187 w 2007"/>
                <a:gd name="T49" fmla="*/ 103 h 1551"/>
                <a:gd name="T50" fmla="*/ 198 w 2007"/>
                <a:gd name="T51" fmla="*/ 115 h 1551"/>
                <a:gd name="T52" fmla="*/ 193 w 2007"/>
                <a:gd name="T53" fmla="*/ 121 h 1551"/>
                <a:gd name="T54" fmla="*/ 179 w 2007"/>
                <a:gd name="T55" fmla="*/ 122 h 1551"/>
                <a:gd name="T56" fmla="*/ 174 w 2007"/>
                <a:gd name="T57" fmla="*/ 141 h 1551"/>
                <a:gd name="T58" fmla="*/ 188 w 2007"/>
                <a:gd name="T59" fmla="*/ 147 h 1551"/>
                <a:gd name="T60" fmla="*/ 177 w 2007"/>
                <a:gd name="T61" fmla="*/ 149 h 1551"/>
                <a:gd name="T62" fmla="*/ 164 w 2007"/>
                <a:gd name="T63" fmla="*/ 153 h 1551"/>
                <a:gd name="T64" fmla="*/ 163 w 2007"/>
                <a:gd name="T65" fmla="*/ 162 h 1551"/>
                <a:gd name="T66" fmla="*/ 171 w 2007"/>
                <a:gd name="T67" fmla="*/ 175 h 1551"/>
                <a:gd name="T68" fmla="*/ 146 w 2007"/>
                <a:gd name="T69" fmla="*/ 185 h 1551"/>
                <a:gd name="T70" fmla="*/ 129 w 2007"/>
                <a:gd name="T71" fmla="*/ 197 h 1551"/>
                <a:gd name="T72" fmla="*/ 120 w 2007"/>
                <a:gd name="T73" fmla="*/ 206 h 1551"/>
                <a:gd name="T74" fmla="*/ 118 w 2007"/>
                <a:gd name="T75" fmla="*/ 224 h 1551"/>
                <a:gd name="T76" fmla="*/ 113 w 2007"/>
                <a:gd name="T77" fmla="*/ 239 h 1551"/>
                <a:gd name="T78" fmla="*/ 103 w 2007"/>
                <a:gd name="T79" fmla="*/ 254 h 1551"/>
                <a:gd name="T80" fmla="*/ 86 w 2007"/>
                <a:gd name="T81" fmla="*/ 238 h 1551"/>
                <a:gd name="T82" fmla="*/ 72 w 2007"/>
                <a:gd name="T83" fmla="*/ 201 h 1551"/>
                <a:gd name="T84" fmla="*/ 74 w 2007"/>
                <a:gd name="T85" fmla="*/ 179 h 1551"/>
                <a:gd name="T86" fmla="*/ 83 w 2007"/>
                <a:gd name="T87" fmla="*/ 162 h 1551"/>
                <a:gd name="T88" fmla="*/ 68 w 2007"/>
                <a:gd name="T89" fmla="*/ 155 h 1551"/>
                <a:gd name="T90" fmla="*/ 73 w 2007"/>
                <a:gd name="T91" fmla="*/ 148 h 1551"/>
                <a:gd name="T92" fmla="*/ 70 w 2007"/>
                <a:gd name="T93" fmla="*/ 147 h 1551"/>
                <a:gd name="T94" fmla="*/ 64 w 2007"/>
                <a:gd name="T95" fmla="*/ 141 h 1551"/>
                <a:gd name="T96" fmla="*/ 59 w 2007"/>
                <a:gd name="T97" fmla="*/ 115 h 1551"/>
                <a:gd name="T98" fmla="*/ 44 w 2007"/>
                <a:gd name="T99" fmla="*/ 96 h 1551"/>
                <a:gd name="T100" fmla="*/ 12 w 2007"/>
                <a:gd name="T101" fmla="*/ 92 h 1551"/>
                <a:gd name="T102" fmla="*/ 5 w 2007"/>
                <a:gd name="T103" fmla="*/ 85 h 1551"/>
                <a:gd name="T104" fmla="*/ 13 w 2007"/>
                <a:gd name="T105" fmla="*/ 79 h 155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007" h="1551">
                  <a:moveTo>
                    <a:pt x="0" y="432"/>
                  </a:moveTo>
                  <a:lnTo>
                    <a:pt x="10" y="406"/>
                  </a:lnTo>
                  <a:lnTo>
                    <a:pt x="137" y="363"/>
                  </a:lnTo>
                  <a:lnTo>
                    <a:pt x="223" y="363"/>
                  </a:lnTo>
                  <a:lnTo>
                    <a:pt x="292" y="266"/>
                  </a:lnTo>
                  <a:lnTo>
                    <a:pt x="231" y="292"/>
                  </a:lnTo>
                  <a:lnTo>
                    <a:pt x="173" y="266"/>
                  </a:lnTo>
                  <a:lnTo>
                    <a:pt x="292" y="198"/>
                  </a:lnTo>
                  <a:lnTo>
                    <a:pt x="376" y="194"/>
                  </a:lnTo>
                  <a:lnTo>
                    <a:pt x="369" y="143"/>
                  </a:lnTo>
                  <a:lnTo>
                    <a:pt x="505" y="177"/>
                  </a:lnTo>
                  <a:lnTo>
                    <a:pt x="425" y="128"/>
                  </a:lnTo>
                  <a:lnTo>
                    <a:pt x="579" y="96"/>
                  </a:lnTo>
                  <a:lnTo>
                    <a:pt x="640" y="124"/>
                  </a:lnTo>
                  <a:lnTo>
                    <a:pt x="752" y="133"/>
                  </a:lnTo>
                  <a:lnTo>
                    <a:pt x="722" y="80"/>
                  </a:lnTo>
                  <a:lnTo>
                    <a:pt x="911" y="146"/>
                  </a:lnTo>
                  <a:lnTo>
                    <a:pt x="1043" y="96"/>
                  </a:lnTo>
                  <a:lnTo>
                    <a:pt x="880" y="28"/>
                  </a:lnTo>
                  <a:lnTo>
                    <a:pt x="963" y="18"/>
                  </a:lnTo>
                  <a:lnTo>
                    <a:pt x="1099" y="61"/>
                  </a:lnTo>
                  <a:lnTo>
                    <a:pt x="1146" y="28"/>
                  </a:lnTo>
                  <a:lnTo>
                    <a:pt x="1127" y="0"/>
                  </a:lnTo>
                  <a:lnTo>
                    <a:pt x="1463" y="18"/>
                  </a:lnTo>
                  <a:lnTo>
                    <a:pt x="1593" y="51"/>
                  </a:lnTo>
                  <a:lnTo>
                    <a:pt x="1687" y="75"/>
                  </a:lnTo>
                  <a:lnTo>
                    <a:pt x="1324" y="113"/>
                  </a:lnTo>
                  <a:lnTo>
                    <a:pt x="1287" y="155"/>
                  </a:lnTo>
                  <a:lnTo>
                    <a:pt x="1549" y="144"/>
                  </a:lnTo>
                  <a:lnTo>
                    <a:pt x="1496" y="174"/>
                  </a:lnTo>
                  <a:lnTo>
                    <a:pt x="1656" y="123"/>
                  </a:lnTo>
                  <a:lnTo>
                    <a:pt x="1667" y="171"/>
                  </a:lnTo>
                  <a:lnTo>
                    <a:pt x="1588" y="251"/>
                  </a:lnTo>
                  <a:lnTo>
                    <a:pt x="1737" y="174"/>
                  </a:lnTo>
                  <a:lnTo>
                    <a:pt x="1833" y="143"/>
                  </a:lnTo>
                  <a:lnTo>
                    <a:pt x="1910" y="133"/>
                  </a:lnTo>
                  <a:lnTo>
                    <a:pt x="2007" y="162"/>
                  </a:lnTo>
                  <a:lnTo>
                    <a:pt x="1919" y="221"/>
                  </a:lnTo>
                  <a:lnTo>
                    <a:pt x="1700" y="245"/>
                  </a:lnTo>
                  <a:lnTo>
                    <a:pt x="1877" y="250"/>
                  </a:lnTo>
                  <a:lnTo>
                    <a:pt x="1736" y="284"/>
                  </a:lnTo>
                  <a:lnTo>
                    <a:pt x="1781" y="347"/>
                  </a:lnTo>
                  <a:lnTo>
                    <a:pt x="1711" y="388"/>
                  </a:lnTo>
                  <a:lnTo>
                    <a:pt x="1775" y="460"/>
                  </a:lnTo>
                  <a:lnTo>
                    <a:pt x="1735" y="487"/>
                  </a:lnTo>
                  <a:lnTo>
                    <a:pt x="1810" y="496"/>
                  </a:lnTo>
                  <a:lnTo>
                    <a:pt x="1725" y="534"/>
                  </a:lnTo>
                  <a:lnTo>
                    <a:pt x="1754" y="576"/>
                  </a:lnTo>
                  <a:lnTo>
                    <a:pt x="1766" y="649"/>
                  </a:lnTo>
                  <a:lnTo>
                    <a:pt x="1680" y="628"/>
                  </a:lnTo>
                  <a:lnTo>
                    <a:pt x="1716" y="687"/>
                  </a:lnTo>
                  <a:lnTo>
                    <a:pt x="1781" y="703"/>
                  </a:lnTo>
                  <a:lnTo>
                    <a:pt x="1668" y="712"/>
                  </a:lnTo>
                  <a:lnTo>
                    <a:pt x="1739" y="742"/>
                  </a:lnTo>
                  <a:lnTo>
                    <a:pt x="1669" y="781"/>
                  </a:lnTo>
                  <a:lnTo>
                    <a:pt x="1611" y="743"/>
                  </a:lnTo>
                  <a:lnTo>
                    <a:pt x="1519" y="776"/>
                  </a:lnTo>
                  <a:lnTo>
                    <a:pt x="1569" y="859"/>
                  </a:lnTo>
                  <a:lnTo>
                    <a:pt x="1594" y="838"/>
                  </a:lnTo>
                  <a:lnTo>
                    <a:pt x="1692" y="898"/>
                  </a:lnTo>
                  <a:lnTo>
                    <a:pt x="1695" y="962"/>
                  </a:lnTo>
                  <a:lnTo>
                    <a:pt x="1593" y="907"/>
                  </a:lnTo>
                  <a:lnTo>
                    <a:pt x="1497" y="871"/>
                  </a:lnTo>
                  <a:lnTo>
                    <a:pt x="1479" y="931"/>
                  </a:lnTo>
                  <a:lnTo>
                    <a:pt x="1535" y="969"/>
                  </a:lnTo>
                  <a:lnTo>
                    <a:pt x="1465" y="985"/>
                  </a:lnTo>
                  <a:lnTo>
                    <a:pt x="1672" y="995"/>
                  </a:lnTo>
                  <a:lnTo>
                    <a:pt x="1541" y="1070"/>
                  </a:lnTo>
                  <a:lnTo>
                    <a:pt x="1411" y="1105"/>
                  </a:lnTo>
                  <a:lnTo>
                    <a:pt x="1312" y="1132"/>
                  </a:lnTo>
                  <a:lnTo>
                    <a:pt x="1262" y="1206"/>
                  </a:lnTo>
                  <a:lnTo>
                    <a:pt x="1160" y="1204"/>
                  </a:lnTo>
                  <a:lnTo>
                    <a:pt x="1143" y="1253"/>
                  </a:lnTo>
                  <a:lnTo>
                    <a:pt x="1083" y="1255"/>
                  </a:lnTo>
                  <a:lnTo>
                    <a:pt x="1049" y="1287"/>
                  </a:lnTo>
                  <a:lnTo>
                    <a:pt x="1063" y="1363"/>
                  </a:lnTo>
                  <a:lnTo>
                    <a:pt x="996" y="1417"/>
                  </a:lnTo>
                  <a:lnTo>
                    <a:pt x="1020" y="1460"/>
                  </a:lnTo>
                  <a:lnTo>
                    <a:pt x="986" y="1551"/>
                  </a:lnTo>
                  <a:lnTo>
                    <a:pt x="923" y="1551"/>
                  </a:lnTo>
                  <a:lnTo>
                    <a:pt x="840" y="1501"/>
                  </a:lnTo>
                  <a:lnTo>
                    <a:pt x="772" y="1451"/>
                  </a:lnTo>
                  <a:lnTo>
                    <a:pt x="694" y="1330"/>
                  </a:lnTo>
                  <a:lnTo>
                    <a:pt x="647" y="1228"/>
                  </a:lnTo>
                  <a:lnTo>
                    <a:pt x="630" y="1155"/>
                  </a:lnTo>
                  <a:lnTo>
                    <a:pt x="663" y="1089"/>
                  </a:lnTo>
                  <a:lnTo>
                    <a:pt x="728" y="1030"/>
                  </a:lnTo>
                  <a:lnTo>
                    <a:pt x="745" y="989"/>
                  </a:lnTo>
                  <a:lnTo>
                    <a:pt x="679" y="983"/>
                  </a:lnTo>
                  <a:lnTo>
                    <a:pt x="609" y="947"/>
                  </a:lnTo>
                  <a:lnTo>
                    <a:pt x="737" y="947"/>
                  </a:lnTo>
                  <a:lnTo>
                    <a:pt x="658" y="901"/>
                  </a:lnTo>
                  <a:lnTo>
                    <a:pt x="696" y="885"/>
                  </a:lnTo>
                  <a:lnTo>
                    <a:pt x="626" y="898"/>
                  </a:lnTo>
                  <a:lnTo>
                    <a:pt x="581" y="901"/>
                  </a:lnTo>
                  <a:lnTo>
                    <a:pt x="577" y="860"/>
                  </a:lnTo>
                  <a:lnTo>
                    <a:pt x="609" y="805"/>
                  </a:lnTo>
                  <a:lnTo>
                    <a:pt x="532" y="699"/>
                  </a:lnTo>
                  <a:lnTo>
                    <a:pt x="474" y="610"/>
                  </a:lnTo>
                  <a:lnTo>
                    <a:pt x="399" y="583"/>
                  </a:lnTo>
                  <a:lnTo>
                    <a:pt x="255" y="593"/>
                  </a:lnTo>
                  <a:lnTo>
                    <a:pt x="110" y="564"/>
                  </a:lnTo>
                  <a:lnTo>
                    <a:pt x="157" y="541"/>
                  </a:lnTo>
                  <a:lnTo>
                    <a:pt x="49" y="521"/>
                  </a:lnTo>
                  <a:lnTo>
                    <a:pt x="237" y="472"/>
                  </a:lnTo>
                  <a:lnTo>
                    <a:pt x="119" y="483"/>
                  </a:lnTo>
                  <a:lnTo>
                    <a:pt x="0" y="432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4" name="Freeform 56"/>
            <p:cNvSpPr>
              <a:spLocks/>
            </p:cNvSpPr>
            <p:nvPr/>
          </p:nvSpPr>
          <p:spPr bwMode="auto">
            <a:xfrm>
              <a:off x="2214563" y="2789238"/>
              <a:ext cx="95250" cy="80963"/>
            </a:xfrm>
            <a:custGeom>
              <a:avLst/>
              <a:gdLst>
                <a:gd name="T0" fmla="*/ 0 w 176"/>
                <a:gd name="T1" fmla="*/ 15 h 122"/>
                <a:gd name="T2" fmla="*/ 10 w 176"/>
                <a:gd name="T3" fmla="*/ 21 h 122"/>
                <a:gd name="T4" fmla="*/ 20 w 176"/>
                <a:gd name="T5" fmla="*/ 2 h 122"/>
                <a:gd name="T6" fmla="*/ 1 w 176"/>
                <a:gd name="T7" fmla="*/ 0 h 122"/>
                <a:gd name="T8" fmla="*/ 0 w 176"/>
                <a:gd name="T9" fmla="*/ 15 h 1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6" h="122">
                  <a:moveTo>
                    <a:pt x="0" y="87"/>
                  </a:moveTo>
                  <a:lnTo>
                    <a:pt x="88" y="122"/>
                  </a:lnTo>
                  <a:lnTo>
                    <a:pt x="176" y="12"/>
                  </a:lnTo>
                  <a:lnTo>
                    <a:pt x="8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5" name="Freeform 57"/>
            <p:cNvSpPr>
              <a:spLocks/>
            </p:cNvSpPr>
            <p:nvPr/>
          </p:nvSpPr>
          <p:spPr bwMode="auto">
            <a:xfrm>
              <a:off x="2097088" y="2674938"/>
              <a:ext cx="87312" cy="71438"/>
            </a:xfrm>
            <a:custGeom>
              <a:avLst/>
              <a:gdLst>
                <a:gd name="T0" fmla="*/ 0 w 166"/>
                <a:gd name="T1" fmla="*/ 13 h 105"/>
                <a:gd name="T2" fmla="*/ 2 w 166"/>
                <a:gd name="T3" fmla="*/ 1 h 105"/>
                <a:gd name="T4" fmla="*/ 16 w 166"/>
                <a:gd name="T5" fmla="*/ 0 h 105"/>
                <a:gd name="T6" fmla="*/ 18 w 166"/>
                <a:gd name="T7" fmla="*/ 15 h 105"/>
                <a:gd name="T8" fmla="*/ 16 w 166"/>
                <a:gd name="T9" fmla="*/ 19 h 105"/>
                <a:gd name="T10" fmla="*/ 7 w 166"/>
                <a:gd name="T11" fmla="*/ 18 h 105"/>
                <a:gd name="T12" fmla="*/ 0 w 166"/>
                <a:gd name="T13" fmla="*/ 13 h 10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66" h="105">
                  <a:moveTo>
                    <a:pt x="0" y="73"/>
                  </a:moveTo>
                  <a:lnTo>
                    <a:pt x="16" y="8"/>
                  </a:lnTo>
                  <a:lnTo>
                    <a:pt x="149" y="0"/>
                  </a:lnTo>
                  <a:lnTo>
                    <a:pt x="166" y="79"/>
                  </a:lnTo>
                  <a:lnTo>
                    <a:pt x="143" y="105"/>
                  </a:lnTo>
                  <a:lnTo>
                    <a:pt x="62" y="101"/>
                  </a:lnTo>
                  <a:lnTo>
                    <a:pt x="0" y="7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6" name="Freeform 58"/>
            <p:cNvSpPr>
              <a:spLocks/>
            </p:cNvSpPr>
            <p:nvPr/>
          </p:nvSpPr>
          <p:spPr bwMode="auto">
            <a:xfrm>
              <a:off x="2097088" y="2789238"/>
              <a:ext cx="104775" cy="115888"/>
            </a:xfrm>
            <a:custGeom>
              <a:avLst/>
              <a:gdLst>
                <a:gd name="T0" fmla="*/ 0 w 197"/>
                <a:gd name="T1" fmla="*/ 15 h 183"/>
                <a:gd name="T2" fmla="*/ 8 w 197"/>
                <a:gd name="T3" fmla="*/ 0 h 183"/>
                <a:gd name="T4" fmla="*/ 19 w 197"/>
                <a:gd name="T5" fmla="*/ 8 h 183"/>
                <a:gd name="T6" fmla="*/ 15 w 197"/>
                <a:gd name="T7" fmla="*/ 13 h 183"/>
                <a:gd name="T8" fmla="*/ 21 w 197"/>
                <a:gd name="T9" fmla="*/ 14 h 183"/>
                <a:gd name="T10" fmla="*/ 22 w 197"/>
                <a:gd name="T11" fmla="*/ 23 h 183"/>
                <a:gd name="T12" fmla="*/ 13 w 197"/>
                <a:gd name="T13" fmla="*/ 29 h 183"/>
                <a:gd name="T14" fmla="*/ 0 w 197"/>
                <a:gd name="T15" fmla="*/ 15 h 18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" h="183">
                  <a:moveTo>
                    <a:pt x="0" y="96"/>
                  </a:moveTo>
                  <a:lnTo>
                    <a:pt x="75" y="0"/>
                  </a:lnTo>
                  <a:lnTo>
                    <a:pt x="172" y="50"/>
                  </a:lnTo>
                  <a:lnTo>
                    <a:pt x="135" y="80"/>
                  </a:lnTo>
                  <a:lnTo>
                    <a:pt x="189" y="89"/>
                  </a:lnTo>
                  <a:lnTo>
                    <a:pt x="197" y="145"/>
                  </a:lnTo>
                  <a:lnTo>
                    <a:pt x="113" y="183"/>
                  </a:lnTo>
                  <a:lnTo>
                    <a:pt x="0" y="96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7" name="Freeform 59"/>
            <p:cNvSpPr>
              <a:spLocks/>
            </p:cNvSpPr>
            <p:nvPr/>
          </p:nvSpPr>
          <p:spPr bwMode="auto">
            <a:xfrm>
              <a:off x="1830388" y="2659063"/>
              <a:ext cx="214312" cy="114300"/>
            </a:xfrm>
            <a:custGeom>
              <a:avLst/>
              <a:gdLst>
                <a:gd name="T0" fmla="*/ 0 w 403"/>
                <a:gd name="T1" fmla="*/ 20 h 172"/>
                <a:gd name="T2" fmla="*/ 10 w 403"/>
                <a:gd name="T3" fmla="*/ 5 h 172"/>
                <a:gd name="T4" fmla="*/ 19 w 403"/>
                <a:gd name="T5" fmla="*/ 9 h 172"/>
                <a:gd name="T6" fmla="*/ 23 w 403"/>
                <a:gd name="T7" fmla="*/ 16 h 172"/>
                <a:gd name="T8" fmla="*/ 32 w 403"/>
                <a:gd name="T9" fmla="*/ 17 h 172"/>
                <a:gd name="T10" fmla="*/ 27 w 403"/>
                <a:gd name="T11" fmla="*/ 5 h 172"/>
                <a:gd name="T12" fmla="*/ 33 w 403"/>
                <a:gd name="T13" fmla="*/ 0 h 172"/>
                <a:gd name="T14" fmla="*/ 36 w 403"/>
                <a:gd name="T15" fmla="*/ 8 h 172"/>
                <a:gd name="T16" fmla="*/ 42 w 403"/>
                <a:gd name="T17" fmla="*/ 10 h 172"/>
                <a:gd name="T18" fmla="*/ 45 w 403"/>
                <a:gd name="T19" fmla="*/ 16 h 172"/>
                <a:gd name="T20" fmla="*/ 43 w 403"/>
                <a:gd name="T21" fmla="*/ 22 h 172"/>
                <a:gd name="T22" fmla="*/ 33 w 403"/>
                <a:gd name="T23" fmla="*/ 21 h 172"/>
                <a:gd name="T24" fmla="*/ 19 w 403"/>
                <a:gd name="T25" fmla="*/ 30 h 172"/>
                <a:gd name="T26" fmla="*/ 0 w 403"/>
                <a:gd name="T27" fmla="*/ 20 h 17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03" h="172">
                  <a:moveTo>
                    <a:pt x="0" y="112"/>
                  </a:moveTo>
                  <a:lnTo>
                    <a:pt x="87" y="26"/>
                  </a:lnTo>
                  <a:lnTo>
                    <a:pt x="168" y="49"/>
                  </a:lnTo>
                  <a:lnTo>
                    <a:pt x="208" y="93"/>
                  </a:lnTo>
                  <a:lnTo>
                    <a:pt x="288" y="97"/>
                  </a:lnTo>
                  <a:lnTo>
                    <a:pt x="238" y="32"/>
                  </a:lnTo>
                  <a:lnTo>
                    <a:pt x="293" y="0"/>
                  </a:lnTo>
                  <a:lnTo>
                    <a:pt x="316" y="42"/>
                  </a:lnTo>
                  <a:lnTo>
                    <a:pt x="375" y="59"/>
                  </a:lnTo>
                  <a:lnTo>
                    <a:pt x="403" y="90"/>
                  </a:lnTo>
                  <a:lnTo>
                    <a:pt x="382" y="125"/>
                  </a:lnTo>
                  <a:lnTo>
                    <a:pt x="295" y="123"/>
                  </a:lnTo>
                  <a:lnTo>
                    <a:pt x="166" y="172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8" name="Freeform 60"/>
            <p:cNvSpPr>
              <a:spLocks/>
            </p:cNvSpPr>
            <p:nvPr/>
          </p:nvSpPr>
          <p:spPr bwMode="auto">
            <a:xfrm>
              <a:off x="1739900" y="2627313"/>
              <a:ext cx="125412" cy="84138"/>
            </a:xfrm>
            <a:custGeom>
              <a:avLst/>
              <a:gdLst>
                <a:gd name="T0" fmla="*/ 0 w 238"/>
                <a:gd name="T1" fmla="*/ 18 h 128"/>
                <a:gd name="T2" fmla="*/ 9 w 238"/>
                <a:gd name="T3" fmla="*/ 22 h 128"/>
                <a:gd name="T4" fmla="*/ 18 w 238"/>
                <a:gd name="T5" fmla="*/ 10 h 128"/>
                <a:gd name="T6" fmla="*/ 19 w 238"/>
                <a:gd name="T7" fmla="*/ 17 h 128"/>
                <a:gd name="T8" fmla="*/ 25 w 238"/>
                <a:gd name="T9" fmla="*/ 11 h 128"/>
                <a:gd name="T10" fmla="*/ 26 w 238"/>
                <a:gd name="T11" fmla="*/ 3 h 128"/>
                <a:gd name="T12" fmla="*/ 23 w 238"/>
                <a:gd name="T13" fmla="*/ 0 h 128"/>
                <a:gd name="T14" fmla="*/ 13 w 238"/>
                <a:gd name="T15" fmla="*/ 3 h 128"/>
                <a:gd name="T16" fmla="*/ 0 w 238"/>
                <a:gd name="T17" fmla="*/ 18 h 1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38" h="128">
                  <a:moveTo>
                    <a:pt x="0" y="103"/>
                  </a:moveTo>
                  <a:lnTo>
                    <a:pt x="81" y="128"/>
                  </a:lnTo>
                  <a:lnTo>
                    <a:pt x="164" y="58"/>
                  </a:lnTo>
                  <a:lnTo>
                    <a:pt x="171" y="96"/>
                  </a:lnTo>
                  <a:lnTo>
                    <a:pt x="224" y="65"/>
                  </a:lnTo>
                  <a:lnTo>
                    <a:pt x="238" y="17"/>
                  </a:lnTo>
                  <a:lnTo>
                    <a:pt x="207" y="0"/>
                  </a:lnTo>
                  <a:lnTo>
                    <a:pt x="116" y="19"/>
                  </a:lnTo>
                  <a:lnTo>
                    <a:pt x="0" y="10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89" name="Freeform 61"/>
            <p:cNvSpPr>
              <a:spLocks/>
            </p:cNvSpPr>
            <p:nvPr/>
          </p:nvSpPr>
          <p:spPr bwMode="auto">
            <a:xfrm>
              <a:off x="2044700" y="2546350"/>
              <a:ext cx="109537" cy="68263"/>
            </a:xfrm>
            <a:custGeom>
              <a:avLst/>
              <a:gdLst>
                <a:gd name="T0" fmla="*/ 0 w 210"/>
                <a:gd name="T1" fmla="*/ 0 h 107"/>
                <a:gd name="T2" fmla="*/ 2 w 210"/>
                <a:gd name="T3" fmla="*/ 6 h 107"/>
                <a:gd name="T4" fmla="*/ 2 w 210"/>
                <a:gd name="T5" fmla="*/ 11 h 107"/>
                <a:gd name="T6" fmla="*/ 23 w 210"/>
                <a:gd name="T7" fmla="*/ 17 h 107"/>
                <a:gd name="T8" fmla="*/ 21 w 210"/>
                <a:gd name="T9" fmla="*/ 8 h 107"/>
                <a:gd name="T10" fmla="*/ 12 w 210"/>
                <a:gd name="T11" fmla="*/ 1 h 107"/>
                <a:gd name="T12" fmla="*/ 8 w 210"/>
                <a:gd name="T13" fmla="*/ 0 h 107"/>
                <a:gd name="T14" fmla="*/ 0 w 210"/>
                <a:gd name="T15" fmla="*/ 0 h 10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0" h="107">
                  <a:moveTo>
                    <a:pt x="0" y="0"/>
                  </a:moveTo>
                  <a:lnTo>
                    <a:pt x="18" y="38"/>
                  </a:lnTo>
                  <a:lnTo>
                    <a:pt x="19" y="66"/>
                  </a:lnTo>
                  <a:lnTo>
                    <a:pt x="210" y="107"/>
                  </a:lnTo>
                  <a:lnTo>
                    <a:pt x="194" y="49"/>
                  </a:lnTo>
                  <a:lnTo>
                    <a:pt x="110" y="8"/>
                  </a:lnTo>
                  <a:lnTo>
                    <a:pt x="7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90" name="Freeform 62"/>
            <p:cNvSpPr>
              <a:spLocks/>
            </p:cNvSpPr>
            <p:nvPr/>
          </p:nvSpPr>
          <p:spPr bwMode="auto">
            <a:xfrm>
              <a:off x="2192338" y="2654300"/>
              <a:ext cx="301625" cy="112713"/>
            </a:xfrm>
            <a:custGeom>
              <a:avLst/>
              <a:gdLst>
                <a:gd name="T0" fmla="*/ 0 w 571"/>
                <a:gd name="T1" fmla="*/ 4 h 176"/>
                <a:gd name="T2" fmla="*/ 4 w 571"/>
                <a:gd name="T3" fmla="*/ 0 h 176"/>
                <a:gd name="T4" fmla="*/ 30 w 571"/>
                <a:gd name="T5" fmla="*/ 12 h 176"/>
                <a:gd name="T6" fmla="*/ 41 w 571"/>
                <a:gd name="T7" fmla="*/ 20 h 176"/>
                <a:gd name="T8" fmla="*/ 53 w 571"/>
                <a:gd name="T9" fmla="*/ 14 h 176"/>
                <a:gd name="T10" fmla="*/ 63 w 571"/>
                <a:gd name="T11" fmla="*/ 21 h 176"/>
                <a:gd name="T12" fmla="*/ 62 w 571"/>
                <a:gd name="T13" fmla="*/ 29 h 176"/>
                <a:gd name="T14" fmla="*/ 19 w 571"/>
                <a:gd name="T15" fmla="*/ 29 h 176"/>
                <a:gd name="T16" fmla="*/ 7 w 571"/>
                <a:gd name="T17" fmla="*/ 10 h 176"/>
                <a:gd name="T18" fmla="*/ 0 w 571"/>
                <a:gd name="T19" fmla="*/ 4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71" h="176">
                  <a:moveTo>
                    <a:pt x="0" y="24"/>
                  </a:moveTo>
                  <a:lnTo>
                    <a:pt x="35" y="0"/>
                  </a:lnTo>
                  <a:lnTo>
                    <a:pt x="272" y="74"/>
                  </a:lnTo>
                  <a:lnTo>
                    <a:pt x="371" y="121"/>
                  </a:lnTo>
                  <a:lnTo>
                    <a:pt x="481" y="87"/>
                  </a:lnTo>
                  <a:lnTo>
                    <a:pt x="571" y="126"/>
                  </a:lnTo>
                  <a:lnTo>
                    <a:pt x="556" y="176"/>
                  </a:lnTo>
                  <a:lnTo>
                    <a:pt x="174" y="176"/>
                  </a:lnTo>
                  <a:lnTo>
                    <a:pt x="65" y="63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91" name="Freeform 63"/>
            <p:cNvSpPr>
              <a:spLocks/>
            </p:cNvSpPr>
            <p:nvPr/>
          </p:nvSpPr>
          <p:spPr bwMode="auto">
            <a:xfrm>
              <a:off x="2279650" y="2351088"/>
              <a:ext cx="538162" cy="342900"/>
            </a:xfrm>
            <a:custGeom>
              <a:avLst/>
              <a:gdLst>
                <a:gd name="T0" fmla="*/ 0 w 1013"/>
                <a:gd name="T1" fmla="*/ 18 h 539"/>
                <a:gd name="T2" fmla="*/ 10 w 1013"/>
                <a:gd name="T3" fmla="*/ 18 h 539"/>
                <a:gd name="T4" fmla="*/ 10 w 1013"/>
                <a:gd name="T5" fmla="*/ 29 h 539"/>
                <a:gd name="T6" fmla="*/ 17 w 1013"/>
                <a:gd name="T7" fmla="*/ 33 h 539"/>
                <a:gd name="T8" fmla="*/ 53 w 1013"/>
                <a:gd name="T9" fmla="*/ 21 h 539"/>
                <a:gd name="T10" fmla="*/ 32 w 1013"/>
                <a:gd name="T11" fmla="*/ 36 h 539"/>
                <a:gd name="T12" fmla="*/ 20 w 1013"/>
                <a:gd name="T13" fmla="*/ 36 h 539"/>
                <a:gd name="T14" fmla="*/ 20 w 1013"/>
                <a:gd name="T15" fmla="*/ 42 h 539"/>
                <a:gd name="T16" fmla="*/ 32 w 1013"/>
                <a:gd name="T17" fmla="*/ 52 h 539"/>
                <a:gd name="T18" fmla="*/ 38 w 1013"/>
                <a:gd name="T19" fmla="*/ 53 h 539"/>
                <a:gd name="T20" fmla="*/ 32 w 1013"/>
                <a:gd name="T21" fmla="*/ 56 h 539"/>
                <a:gd name="T22" fmla="*/ 25 w 1013"/>
                <a:gd name="T23" fmla="*/ 54 h 539"/>
                <a:gd name="T24" fmla="*/ 19 w 1013"/>
                <a:gd name="T25" fmla="*/ 56 h 539"/>
                <a:gd name="T26" fmla="*/ 16 w 1013"/>
                <a:gd name="T27" fmla="*/ 64 h 539"/>
                <a:gd name="T28" fmla="*/ 23 w 1013"/>
                <a:gd name="T29" fmla="*/ 66 h 539"/>
                <a:gd name="T30" fmla="*/ 13 w 1013"/>
                <a:gd name="T31" fmla="*/ 67 h 539"/>
                <a:gd name="T32" fmla="*/ 19 w 1013"/>
                <a:gd name="T33" fmla="*/ 75 h 539"/>
                <a:gd name="T34" fmla="*/ 9 w 1013"/>
                <a:gd name="T35" fmla="*/ 79 h 539"/>
                <a:gd name="T36" fmla="*/ 10 w 1013"/>
                <a:gd name="T37" fmla="*/ 84 h 539"/>
                <a:gd name="T38" fmla="*/ 19 w 1013"/>
                <a:gd name="T39" fmla="*/ 82 h 539"/>
                <a:gd name="T40" fmla="*/ 24 w 1013"/>
                <a:gd name="T41" fmla="*/ 86 h 539"/>
                <a:gd name="T42" fmla="*/ 25 w 1013"/>
                <a:gd name="T43" fmla="*/ 82 h 539"/>
                <a:gd name="T44" fmla="*/ 40 w 1013"/>
                <a:gd name="T45" fmla="*/ 87 h 539"/>
                <a:gd name="T46" fmla="*/ 50 w 1013"/>
                <a:gd name="T47" fmla="*/ 83 h 539"/>
                <a:gd name="T48" fmla="*/ 53 w 1013"/>
                <a:gd name="T49" fmla="*/ 69 h 539"/>
                <a:gd name="T50" fmla="*/ 51 w 1013"/>
                <a:gd name="T51" fmla="*/ 65 h 539"/>
                <a:gd name="T52" fmla="*/ 59 w 1013"/>
                <a:gd name="T53" fmla="*/ 66 h 539"/>
                <a:gd name="T54" fmla="*/ 64 w 1013"/>
                <a:gd name="T55" fmla="*/ 58 h 539"/>
                <a:gd name="T56" fmla="*/ 53 w 1013"/>
                <a:gd name="T57" fmla="*/ 54 h 539"/>
                <a:gd name="T58" fmla="*/ 68 w 1013"/>
                <a:gd name="T59" fmla="*/ 46 h 539"/>
                <a:gd name="T60" fmla="*/ 64 w 1013"/>
                <a:gd name="T61" fmla="*/ 42 h 539"/>
                <a:gd name="T62" fmla="*/ 75 w 1013"/>
                <a:gd name="T63" fmla="*/ 44 h 539"/>
                <a:gd name="T64" fmla="*/ 82 w 1013"/>
                <a:gd name="T65" fmla="*/ 36 h 539"/>
                <a:gd name="T66" fmla="*/ 101 w 1013"/>
                <a:gd name="T67" fmla="*/ 22 h 539"/>
                <a:gd name="T68" fmla="*/ 80 w 1013"/>
                <a:gd name="T69" fmla="*/ 26 h 539"/>
                <a:gd name="T70" fmla="*/ 92 w 1013"/>
                <a:gd name="T71" fmla="*/ 20 h 539"/>
                <a:gd name="T72" fmla="*/ 83 w 1013"/>
                <a:gd name="T73" fmla="*/ 18 h 539"/>
                <a:gd name="T74" fmla="*/ 96 w 1013"/>
                <a:gd name="T75" fmla="*/ 18 h 539"/>
                <a:gd name="T76" fmla="*/ 113 w 1013"/>
                <a:gd name="T77" fmla="*/ 11 h 539"/>
                <a:gd name="T78" fmla="*/ 104 w 1013"/>
                <a:gd name="T79" fmla="*/ 2 h 539"/>
                <a:gd name="T80" fmla="*/ 85 w 1013"/>
                <a:gd name="T81" fmla="*/ 5 h 539"/>
                <a:gd name="T82" fmla="*/ 93 w 1013"/>
                <a:gd name="T83" fmla="*/ 1 h 539"/>
                <a:gd name="T84" fmla="*/ 51 w 1013"/>
                <a:gd name="T85" fmla="*/ 0 h 539"/>
                <a:gd name="T86" fmla="*/ 41 w 1013"/>
                <a:gd name="T87" fmla="*/ 1 h 539"/>
                <a:gd name="T88" fmla="*/ 31 w 1013"/>
                <a:gd name="T89" fmla="*/ 8 h 539"/>
                <a:gd name="T90" fmla="*/ 22 w 1013"/>
                <a:gd name="T91" fmla="*/ 8 h 539"/>
                <a:gd name="T92" fmla="*/ 17 w 1013"/>
                <a:gd name="T93" fmla="*/ 12 h 539"/>
                <a:gd name="T94" fmla="*/ 12 w 1013"/>
                <a:gd name="T95" fmla="*/ 12 h 539"/>
                <a:gd name="T96" fmla="*/ 0 w 1013"/>
                <a:gd name="T97" fmla="*/ 18 h 53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013" h="539">
                  <a:moveTo>
                    <a:pt x="0" y="113"/>
                  </a:moveTo>
                  <a:lnTo>
                    <a:pt x="87" y="115"/>
                  </a:lnTo>
                  <a:lnTo>
                    <a:pt x="87" y="181"/>
                  </a:lnTo>
                  <a:lnTo>
                    <a:pt x="156" y="205"/>
                  </a:lnTo>
                  <a:lnTo>
                    <a:pt x="472" y="132"/>
                  </a:lnTo>
                  <a:lnTo>
                    <a:pt x="283" y="225"/>
                  </a:lnTo>
                  <a:lnTo>
                    <a:pt x="179" y="225"/>
                  </a:lnTo>
                  <a:lnTo>
                    <a:pt x="178" y="259"/>
                  </a:lnTo>
                  <a:lnTo>
                    <a:pt x="283" y="324"/>
                  </a:lnTo>
                  <a:lnTo>
                    <a:pt x="345" y="330"/>
                  </a:lnTo>
                  <a:lnTo>
                    <a:pt x="286" y="348"/>
                  </a:lnTo>
                  <a:lnTo>
                    <a:pt x="223" y="334"/>
                  </a:lnTo>
                  <a:lnTo>
                    <a:pt x="168" y="349"/>
                  </a:lnTo>
                  <a:lnTo>
                    <a:pt x="147" y="397"/>
                  </a:lnTo>
                  <a:lnTo>
                    <a:pt x="204" y="408"/>
                  </a:lnTo>
                  <a:lnTo>
                    <a:pt x="117" y="420"/>
                  </a:lnTo>
                  <a:lnTo>
                    <a:pt x="168" y="466"/>
                  </a:lnTo>
                  <a:lnTo>
                    <a:pt x="83" y="490"/>
                  </a:lnTo>
                  <a:lnTo>
                    <a:pt x="92" y="522"/>
                  </a:lnTo>
                  <a:lnTo>
                    <a:pt x="170" y="508"/>
                  </a:lnTo>
                  <a:lnTo>
                    <a:pt x="212" y="535"/>
                  </a:lnTo>
                  <a:lnTo>
                    <a:pt x="222" y="512"/>
                  </a:lnTo>
                  <a:lnTo>
                    <a:pt x="360" y="539"/>
                  </a:lnTo>
                  <a:lnTo>
                    <a:pt x="443" y="516"/>
                  </a:lnTo>
                  <a:lnTo>
                    <a:pt x="472" y="431"/>
                  </a:lnTo>
                  <a:lnTo>
                    <a:pt x="451" y="407"/>
                  </a:lnTo>
                  <a:lnTo>
                    <a:pt x="525" y="408"/>
                  </a:lnTo>
                  <a:lnTo>
                    <a:pt x="573" y="359"/>
                  </a:lnTo>
                  <a:lnTo>
                    <a:pt x="468" y="334"/>
                  </a:lnTo>
                  <a:lnTo>
                    <a:pt x="607" y="287"/>
                  </a:lnTo>
                  <a:lnTo>
                    <a:pt x="570" y="263"/>
                  </a:lnTo>
                  <a:lnTo>
                    <a:pt x="669" y="274"/>
                  </a:lnTo>
                  <a:lnTo>
                    <a:pt x="735" y="222"/>
                  </a:lnTo>
                  <a:lnTo>
                    <a:pt x="906" y="134"/>
                  </a:lnTo>
                  <a:lnTo>
                    <a:pt x="718" y="164"/>
                  </a:lnTo>
                  <a:lnTo>
                    <a:pt x="826" y="128"/>
                  </a:lnTo>
                  <a:lnTo>
                    <a:pt x="745" y="110"/>
                  </a:lnTo>
                  <a:lnTo>
                    <a:pt x="861" y="113"/>
                  </a:lnTo>
                  <a:lnTo>
                    <a:pt x="1013" y="68"/>
                  </a:lnTo>
                  <a:lnTo>
                    <a:pt x="932" y="12"/>
                  </a:lnTo>
                  <a:lnTo>
                    <a:pt x="757" y="32"/>
                  </a:lnTo>
                  <a:lnTo>
                    <a:pt x="833" y="6"/>
                  </a:lnTo>
                  <a:lnTo>
                    <a:pt x="456" y="0"/>
                  </a:lnTo>
                  <a:lnTo>
                    <a:pt x="368" y="6"/>
                  </a:lnTo>
                  <a:lnTo>
                    <a:pt x="280" y="50"/>
                  </a:lnTo>
                  <a:lnTo>
                    <a:pt x="196" y="47"/>
                  </a:lnTo>
                  <a:lnTo>
                    <a:pt x="154" y="73"/>
                  </a:lnTo>
                  <a:lnTo>
                    <a:pt x="111" y="78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92" name="Freeform 64"/>
            <p:cNvSpPr>
              <a:spLocks/>
            </p:cNvSpPr>
            <p:nvPr/>
          </p:nvSpPr>
          <p:spPr bwMode="auto">
            <a:xfrm>
              <a:off x="2205038" y="2454275"/>
              <a:ext cx="196850" cy="150813"/>
            </a:xfrm>
            <a:custGeom>
              <a:avLst/>
              <a:gdLst>
                <a:gd name="T0" fmla="*/ 0 w 371"/>
                <a:gd name="T1" fmla="*/ 10 h 236"/>
                <a:gd name="T2" fmla="*/ 10 w 371"/>
                <a:gd name="T3" fmla="*/ 8 h 236"/>
                <a:gd name="T4" fmla="*/ 5 w 371"/>
                <a:gd name="T5" fmla="*/ 2 h 236"/>
                <a:gd name="T6" fmla="*/ 18 w 371"/>
                <a:gd name="T7" fmla="*/ 0 h 236"/>
                <a:gd name="T8" fmla="*/ 21 w 371"/>
                <a:gd name="T9" fmla="*/ 8 h 236"/>
                <a:gd name="T10" fmla="*/ 32 w 371"/>
                <a:gd name="T11" fmla="*/ 10 h 236"/>
                <a:gd name="T12" fmla="*/ 32 w 371"/>
                <a:gd name="T13" fmla="*/ 19 h 236"/>
                <a:gd name="T14" fmla="*/ 39 w 371"/>
                <a:gd name="T15" fmla="*/ 19 h 236"/>
                <a:gd name="T16" fmla="*/ 41 w 371"/>
                <a:gd name="T17" fmla="*/ 24 h 236"/>
                <a:gd name="T18" fmla="*/ 30 w 371"/>
                <a:gd name="T19" fmla="*/ 26 h 236"/>
                <a:gd name="T20" fmla="*/ 28 w 371"/>
                <a:gd name="T21" fmla="*/ 38 h 236"/>
                <a:gd name="T22" fmla="*/ 16 w 371"/>
                <a:gd name="T23" fmla="*/ 37 h 236"/>
                <a:gd name="T24" fmla="*/ 9 w 371"/>
                <a:gd name="T25" fmla="*/ 27 h 236"/>
                <a:gd name="T26" fmla="*/ 23 w 371"/>
                <a:gd name="T27" fmla="*/ 23 h 236"/>
                <a:gd name="T28" fmla="*/ 6 w 371"/>
                <a:gd name="T29" fmla="*/ 24 h 236"/>
                <a:gd name="T30" fmla="*/ 0 w 371"/>
                <a:gd name="T31" fmla="*/ 10 h 2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71" h="236">
                  <a:moveTo>
                    <a:pt x="0" y="60"/>
                  </a:moveTo>
                  <a:lnTo>
                    <a:pt x="91" y="47"/>
                  </a:lnTo>
                  <a:lnTo>
                    <a:pt x="44" y="13"/>
                  </a:lnTo>
                  <a:lnTo>
                    <a:pt x="159" y="0"/>
                  </a:lnTo>
                  <a:lnTo>
                    <a:pt x="185" y="47"/>
                  </a:lnTo>
                  <a:lnTo>
                    <a:pt x="285" y="60"/>
                  </a:lnTo>
                  <a:lnTo>
                    <a:pt x="285" y="120"/>
                  </a:lnTo>
                  <a:lnTo>
                    <a:pt x="347" y="119"/>
                  </a:lnTo>
                  <a:lnTo>
                    <a:pt x="371" y="148"/>
                  </a:lnTo>
                  <a:lnTo>
                    <a:pt x="270" y="161"/>
                  </a:lnTo>
                  <a:lnTo>
                    <a:pt x="251" y="236"/>
                  </a:lnTo>
                  <a:lnTo>
                    <a:pt x="143" y="230"/>
                  </a:lnTo>
                  <a:lnTo>
                    <a:pt x="83" y="168"/>
                  </a:lnTo>
                  <a:lnTo>
                    <a:pt x="203" y="143"/>
                  </a:lnTo>
                  <a:lnTo>
                    <a:pt x="58" y="148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93" name="Freeform 65"/>
            <p:cNvSpPr>
              <a:spLocks/>
            </p:cNvSpPr>
            <p:nvPr/>
          </p:nvSpPr>
          <p:spPr bwMode="auto">
            <a:xfrm>
              <a:off x="2312988" y="2803525"/>
              <a:ext cx="501650" cy="457200"/>
            </a:xfrm>
            <a:custGeom>
              <a:avLst/>
              <a:gdLst>
                <a:gd name="T0" fmla="*/ 0 w 950"/>
                <a:gd name="T1" fmla="*/ 25 h 714"/>
                <a:gd name="T2" fmla="*/ 1 w 950"/>
                <a:gd name="T3" fmla="*/ 13 h 714"/>
                <a:gd name="T4" fmla="*/ 12 w 950"/>
                <a:gd name="T5" fmla="*/ 0 h 714"/>
                <a:gd name="T6" fmla="*/ 19 w 950"/>
                <a:gd name="T7" fmla="*/ 1 h 714"/>
                <a:gd name="T8" fmla="*/ 13 w 950"/>
                <a:gd name="T9" fmla="*/ 16 h 714"/>
                <a:gd name="T10" fmla="*/ 18 w 950"/>
                <a:gd name="T11" fmla="*/ 23 h 714"/>
                <a:gd name="T12" fmla="*/ 19 w 950"/>
                <a:gd name="T13" fmla="*/ 15 h 714"/>
                <a:gd name="T14" fmla="*/ 23 w 950"/>
                <a:gd name="T15" fmla="*/ 5 h 714"/>
                <a:gd name="T16" fmla="*/ 31 w 950"/>
                <a:gd name="T17" fmla="*/ 0 h 714"/>
                <a:gd name="T18" fmla="*/ 33 w 950"/>
                <a:gd name="T19" fmla="*/ 20 h 714"/>
                <a:gd name="T20" fmla="*/ 45 w 950"/>
                <a:gd name="T21" fmla="*/ 11 h 714"/>
                <a:gd name="T22" fmla="*/ 54 w 950"/>
                <a:gd name="T23" fmla="*/ 14 h 714"/>
                <a:gd name="T24" fmla="*/ 58 w 950"/>
                <a:gd name="T25" fmla="*/ 20 h 714"/>
                <a:gd name="T26" fmla="*/ 62 w 950"/>
                <a:gd name="T27" fmla="*/ 27 h 714"/>
                <a:gd name="T28" fmla="*/ 64 w 950"/>
                <a:gd name="T29" fmla="*/ 23 h 714"/>
                <a:gd name="T30" fmla="*/ 71 w 950"/>
                <a:gd name="T31" fmla="*/ 29 h 714"/>
                <a:gd name="T32" fmla="*/ 72 w 950"/>
                <a:gd name="T33" fmla="*/ 35 h 714"/>
                <a:gd name="T34" fmla="*/ 80 w 950"/>
                <a:gd name="T35" fmla="*/ 37 h 714"/>
                <a:gd name="T36" fmla="*/ 84 w 950"/>
                <a:gd name="T37" fmla="*/ 41 h 714"/>
                <a:gd name="T38" fmla="*/ 78 w 950"/>
                <a:gd name="T39" fmla="*/ 45 h 714"/>
                <a:gd name="T40" fmla="*/ 86 w 950"/>
                <a:gd name="T41" fmla="*/ 47 h 714"/>
                <a:gd name="T42" fmla="*/ 79 w 950"/>
                <a:gd name="T43" fmla="*/ 54 h 714"/>
                <a:gd name="T44" fmla="*/ 88 w 950"/>
                <a:gd name="T45" fmla="*/ 61 h 714"/>
                <a:gd name="T46" fmla="*/ 92 w 950"/>
                <a:gd name="T47" fmla="*/ 59 h 714"/>
                <a:gd name="T48" fmla="*/ 105 w 950"/>
                <a:gd name="T49" fmla="*/ 73 h 714"/>
                <a:gd name="T50" fmla="*/ 97 w 950"/>
                <a:gd name="T51" fmla="*/ 81 h 714"/>
                <a:gd name="T52" fmla="*/ 97 w 950"/>
                <a:gd name="T53" fmla="*/ 89 h 714"/>
                <a:gd name="T54" fmla="*/ 85 w 950"/>
                <a:gd name="T55" fmla="*/ 73 h 714"/>
                <a:gd name="T56" fmla="*/ 80 w 950"/>
                <a:gd name="T57" fmla="*/ 75 h 714"/>
                <a:gd name="T58" fmla="*/ 86 w 950"/>
                <a:gd name="T59" fmla="*/ 90 h 714"/>
                <a:gd name="T60" fmla="*/ 92 w 950"/>
                <a:gd name="T61" fmla="*/ 92 h 714"/>
                <a:gd name="T62" fmla="*/ 92 w 950"/>
                <a:gd name="T63" fmla="*/ 111 h 714"/>
                <a:gd name="T64" fmla="*/ 78 w 950"/>
                <a:gd name="T65" fmla="*/ 100 h 714"/>
                <a:gd name="T66" fmla="*/ 88 w 950"/>
                <a:gd name="T67" fmla="*/ 116 h 714"/>
                <a:gd name="T68" fmla="*/ 69 w 950"/>
                <a:gd name="T69" fmla="*/ 106 h 714"/>
                <a:gd name="T70" fmla="*/ 57 w 950"/>
                <a:gd name="T71" fmla="*/ 93 h 714"/>
                <a:gd name="T72" fmla="*/ 49 w 950"/>
                <a:gd name="T73" fmla="*/ 96 h 714"/>
                <a:gd name="T74" fmla="*/ 47 w 950"/>
                <a:gd name="T75" fmla="*/ 84 h 714"/>
                <a:gd name="T76" fmla="*/ 61 w 950"/>
                <a:gd name="T77" fmla="*/ 84 h 714"/>
                <a:gd name="T78" fmla="*/ 57 w 950"/>
                <a:gd name="T79" fmla="*/ 77 h 714"/>
                <a:gd name="T80" fmla="*/ 65 w 950"/>
                <a:gd name="T81" fmla="*/ 67 h 714"/>
                <a:gd name="T82" fmla="*/ 60 w 950"/>
                <a:gd name="T83" fmla="*/ 53 h 714"/>
                <a:gd name="T84" fmla="*/ 49 w 950"/>
                <a:gd name="T85" fmla="*/ 54 h 714"/>
                <a:gd name="T86" fmla="*/ 49 w 950"/>
                <a:gd name="T87" fmla="*/ 50 h 714"/>
                <a:gd name="T88" fmla="*/ 52 w 950"/>
                <a:gd name="T89" fmla="*/ 47 h 714"/>
                <a:gd name="T90" fmla="*/ 46 w 950"/>
                <a:gd name="T91" fmla="*/ 42 h 714"/>
                <a:gd name="T92" fmla="*/ 40 w 950"/>
                <a:gd name="T93" fmla="*/ 36 h 714"/>
                <a:gd name="T94" fmla="*/ 41 w 950"/>
                <a:gd name="T95" fmla="*/ 41 h 714"/>
                <a:gd name="T96" fmla="*/ 33 w 950"/>
                <a:gd name="T97" fmla="*/ 42 h 714"/>
                <a:gd name="T98" fmla="*/ 7 w 950"/>
                <a:gd name="T99" fmla="*/ 37 h 714"/>
                <a:gd name="T100" fmla="*/ 2 w 950"/>
                <a:gd name="T101" fmla="*/ 29 h 714"/>
                <a:gd name="T102" fmla="*/ 10 w 950"/>
                <a:gd name="T103" fmla="*/ 29 h 714"/>
                <a:gd name="T104" fmla="*/ 0 w 950"/>
                <a:gd name="T105" fmla="*/ 25 h 7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950" h="714">
                  <a:moveTo>
                    <a:pt x="0" y="156"/>
                  </a:moveTo>
                  <a:lnTo>
                    <a:pt x="6" y="78"/>
                  </a:lnTo>
                  <a:lnTo>
                    <a:pt x="112" y="0"/>
                  </a:lnTo>
                  <a:lnTo>
                    <a:pt x="169" y="5"/>
                  </a:lnTo>
                  <a:lnTo>
                    <a:pt x="121" y="96"/>
                  </a:lnTo>
                  <a:lnTo>
                    <a:pt x="162" y="145"/>
                  </a:lnTo>
                  <a:lnTo>
                    <a:pt x="174" y="94"/>
                  </a:lnTo>
                  <a:lnTo>
                    <a:pt x="211" y="32"/>
                  </a:lnTo>
                  <a:lnTo>
                    <a:pt x="283" y="2"/>
                  </a:lnTo>
                  <a:lnTo>
                    <a:pt x="302" y="123"/>
                  </a:lnTo>
                  <a:lnTo>
                    <a:pt x="410" y="69"/>
                  </a:lnTo>
                  <a:lnTo>
                    <a:pt x="488" y="84"/>
                  </a:lnTo>
                  <a:lnTo>
                    <a:pt x="523" y="123"/>
                  </a:lnTo>
                  <a:lnTo>
                    <a:pt x="557" y="166"/>
                  </a:lnTo>
                  <a:lnTo>
                    <a:pt x="581" y="139"/>
                  </a:lnTo>
                  <a:lnTo>
                    <a:pt x="644" y="177"/>
                  </a:lnTo>
                  <a:lnTo>
                    <a:pt x="651" y="216"/>
                  </a:lnTo>
                  <a:lnTo>
                    <a:pt x="726" y="227"/>
                  </a:lnTo>
                  <a:lnTo>
                    <a:pt x="761" y="251"/>
                  </a:lnTo>
                  <a:lnTo>
                    <a:pt x="704" y="275"/>
                  </a:lnTo>
                  <a:lnTo>
                    <a:pt x="781" y="288"/>
                  </a:lnTo>
                  <a:lnTo>
                    <a:pt x="720" y="332"/>
                  </a:lnTo>
                  <a:lnTo>
                    <a:pt x="799" y="373"/>
                  </a:lnTo>
                  <a:lnTo>
                    <a:pt x="834" y="364"/>
                  </a:lnTo>
                  <a:lnTo>
                    <a:pt x="950" y="446"/>
                  </a:lnTo>
                  <a:lnTo>
                    <a:pt x="882" y="500"/>
                  </a:lnTo>
                  <a:lnTo>
                    <a:pt x="877" y="545"/>
                  </a:lnTo>
                  <a:lnTo>
                    <a:pt x="769" y="452"/>
                  </a:lnTo>
                  <a:lnTo>
                    <a:pt x="728" y="462"/>
                  </a:lnTo>
                  <a:lnTo>
                    <a:pt x="776" y="551"/>
                  </a:lnTo>
                  <a:lnTo>
                    <a:pt x="834" y="565"/>
                  </a:lnTo>
                  <a:lnTo>
                    <a:pt x="836" y="679"/>
                  </a:lnTo>
                  <a:lnTo>
                    <a:pt x="701" y="616"/>
                  </a:lnTo>
                  <a:lnTo>
                    <a:pt x="799" y="714"/>
                  </a:lnTo>
                  <a:lnTo>
                    <a:pt x="624" y="652"/>
                  </a:lnTo>
                  <a:lnTo>
                    <a:pt x="511" y="571"/>
                  </a:lnTo>
                  <a:lnTo>
                    <a:pt x="439" y="588"/>
                  </a:lnTo>
                  <a:lnTo>
                    <a:pt x="420" y="516"/>
                  </a:lnTo>
                  <a:lnTo>
                    <a:pt x="547" y="516"/>
                  </a:lnTo>
                  <a:lnTo>
                    <a:pt x="517" y="473"/>
                  </a:lnTo>
                  <a:lnTo>
                    <a:pt x="587" y="410"/>
                  </a:lnTo>
                  <a:lnTo>
                    <a:pt x="538" y="326"/>
                  </a:lnTo>
                  <a:lnTo>
                    <a:pt x="442" y="329"/>
                  </a:lnTo>
                  <a:lnTo>
                    <a:pt x="439" y="306"/>
                  </a:lnTo>
                  <a:lnTo>
                    <a:pt x="473" y="288"/>
                  </a:lnTo>
                  <a:lnTo>
                    <a:pt x="412" y="257"/>
                  </a:lnTo>
                  <a:lnTo>
                    <a:pt x="359" y="220"/>
                  </a:lnTo>
                  <a:lnTo>
                    <a:pt x="372" y="254"/>
                  </a:lnTo>
                  <a:lnTo>
                    <a:pt x="302" y="261"/>
                  </a:lnTo>
                  <a:lnTo>
                    <a:pt x="59" y="227"/>
                  </a:lnTo>
                  <a:lnTo>
                    <a:pt x="18" y="176"/>
                  </a:lnTo>
                  <a:lnTo>
                    <a:pt x="94" y="181"/>
                  </a:lnTo>
                  <a:lnTo>
                    <a:pt x="0" y="156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94" name="Text Box 66"/>
            <p:cNvSpPr txBox="1">
              <a:spLocks noChangeArrowheads="1"/>
            </p:cNvSpPr>
            <p:nvPr/>
          </p:nvSpPr>
          <p:spPr bwMode="auto">
            <a:xfrm>
              <a:off x="3105150" y="3692525"/>
              <a:ext cx="1028700" cy="252413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0180" tIns="35091" rIns="70180" bIns="35091">
              <a:spAutoFit/>
            </a:bodyPr>
            <a:lstStyle>
              <a:lvl1pPr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l"/>
              <a:r>
                <a:rPr lang="de-DE" sz="1200">
                  <a:solidFill>
                    <a:schemeClr val="tx1"/>
                  </a:solidFill>
                </a:rPr>
                <a:t>Burghausen</a:t>
              </a:r>
            </a:p>
          </p:txBody>
        </p:sp>
        <p:sp>
          <p:nvSpPr>
            <p:cNvPr id="195" name="Text Box 68"/>
            <p:cNvSpPr txBox="1">
              <a:spLocks noChangeArrowheads="1"/>
            </p:cNvSpPr>
            <p:nvPr/>
          </p:nvSpPr>
          <p:spPr bwMode="auto">
            <a:xfrm>
              <a:off x="2097088" y="3475038"/>
              <a:ext cx="622300" cy="252413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0180" tIns="35091" rIns="70180" bIns="35091">
              <a:spAutoFit/>
            </a:bodyPr>
            <a:lstStyle>
              <a:lvl1pPr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l"/>
              <a:r>
                <a:rPr lang="de-DE" sz="1200" dirty="0">
                  <a:solidFill>
                    <a:schemeClr val="tx1"/>
                  </a:solidFill>
                </a:rPr>
                <a:t>Adrian</a:t>
              </a:r>
            </a:p>
          </p:txBody>
        </p:sp>
        <p:sp>
          <p:nvSpPr>
            <p:cNvPr id="196" name="Text Box 69"/>
            <p:cNvSpPr txBox="1">
              <a:spLocks noChangeArrowheads="1"/>
            </p:cNvSpPr>
            <p:nvPr/>
          </p:nvSpPr>
          <p:spPr bwMode="auto">
            <a:xfrm>
              <a:off x="5989638" y="4106863"/>
              <a:ext cx="827087" cy="252413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0180" tIns="35091" rIns="70180" bIns="35091">
              <a:spAutoFit/>
            </a:bodyPr>
            <a:lstStyle>
              <a:lvl1pPr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l"/>
              <a:r>
                <a:rPr lang="de-DE" sz="1200">
                  <a:solidFill>
                    <a:schemeClr val="tx1"/>
                  </a:solidFill>
                </a:rPr>
                <a:t>Shanghai</a:t>
              </a:r>
            </a:p>
          </p:txBody>
        </p:sp>
        <p:sp>
          <p:nvSpPr>
            <p:cNvPr id="197" name="Text Box 72"/>
            <p:cNvSpPr txBox="1">
              <a:spLocks noChangeArrowheads="1"/>
            </p:cNvSpPr>
            <p:nvPr/>
          </p:nvSpPr>
          <p:spPr bwMode="auto">
            <a:xfrm>
              <a:off x="2728913" y="5038725"/>
              <a:ext cx="681037" cy="252413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0180" tIns="35091" rIns="70180" bIns="35091">
              <a:spAutoFit/>
            </a:bodyPr>
            <a:lstStyle>
              <a:lvl1pPr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l"/>
              <a:r>
                <a:rPr lang="de-DE" sz="1200" dirty="0" err="1">
                  <a:solidFill>
                    <a:schemeClr val="tx1"/>
                  </a:solidFill>
                </a:rPr>
                <a:t>Jandira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98" name="Text Box 78"/>
            <p:cNvSpPr txBox="1">
              <a:spLocks noChangeArrowheads="1"/>
            </p:cNvSpPr>
            <p:nvPr/>
          </p:nvSpPr>
          <p:spPr bwMode="auto">
            <a:xfrm>
              <a:off x="5407025" y="4848225"/>
              <a:ext cx="885825" cy="252413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0180" tIns="35091" rIns="70180" bIns="35091">
              <a:spAutoFit/>
            </a:bodyPr>
            <a:lstStyle>
              <a:lvl1pPr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l"/>
              <a:r>
                <a:rPr lang="en-US" sz="1200" dirty="0">
                  <a:solidFill>
                    <a:schemeClr val="tx1"/>
                  </a:solidFill>
                </a:rPr>
                <a:t>Singapore</a:t>
              </a:r>
            </a:p>
          </p:txBody>
        </p:sp>
        <p:sp>
          <p:nvSpPr>
            <p:cNvPr id="199" name="Text Box 85"/>
            <p:cNvSpPr txBox="1">
              <a:spLocks noChangeArrowheads="1"/>
            </p:cNvSpPr>
            <p:nvPr/>
          </p:nvSpPr>
          <p:spPr bwMode="auto">
            <a:xfrm>
              <a:off x="3757613" y="3213100"/>
              <a:ext cx="842962" cy="252413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0180" tIns="35091" rIns="70180" bIns="35091">
              <a:spAutoFit/>
            </a:bodyPr>
            <a:lstStyle>
              <a:lvl1pPr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l"/>
              <a:r>
                <a:rPr lang="de-DE" sz="1200">
                  <a:solidFill>
                    <a:schemeClr val="tx1"/>
                  </a:solidFill>
                </a:rPr>
                <a:t>Nünchritz</a:t>
              </a:r>
            </a:p>
          </p:txBody>
        </p:sp>
        <p:sp>
          <p:nvSpPr>
            <p:cNvPr id="200" name="Text Box 88"/>
            <p:cNvSpPr txBox="1">
              <a:spLocks noChangeArrowheads="1"/>
            </p:cNvSpPr>
            <p:nvPr/>
          </p:nvSpPr>
          <p:spPr bwMode="auto">
            <a:xfrm>
              <a:off x="5137150" y="3968750"/>
              <a:ext cx="698500" cy="252413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lIns="70180" tIns="35091" rIns="70180" bIns="35091">
              <a:spAutoFit/>
            </a:bodyPr>
            <a:lstStyle>
              <a:lvl1pPr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defTabSz="703263" eaLnBrk="0" hangingPunct="0">
                <a:defRPr sz="2000" b="1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algn="ctr" defTabSz="703263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l"/>
              <a:r>
                <a:rPr lang="de-DE" sz="1200">
                  <a:solidFill>
                    <a:schemeClr val="tx1"/>
                  </a:solidFill>
                </a:rPr>
                <a:t>Kolkata</a:t>
              </a:r>
            </a:p>
          </p:txBody>
        </p:sp>
        <p:sp>
          <p:nvSpPr>
            <p:cNvPr id="201" name="Oval 91"/>
            <p:cNvSpPr>
              <a:spLocks noChangeArrowheads="1"/>
            </p:cNvSpPr>
            <p:nvPr/>
          </p:nvSpPr>
          <p:spPr bwMode="auto">
            <a:xfrm>
              <a:off x="6338888" y="3784600"/>
              <a:ext cx="144462" cy="155575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rgbClr val="00694F"/>
              </a:solidFill>
              <a:headEnd type="none" w="sm" len="sm"/>
              <a:tailEnd type="none" w="sm" len="sm"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endParaRPr lang="de-DE"/>
            </a:p>
          </p:txBody>
        </p:sp>
        <p:sp>
          <p:nvSpPr>
            <p:cNvPr id="202" name="Rectangle 92"/>
            <p:cNvSpPr>
              <a:spLocks noChangeArrowheads="1"/>
            </p:cNvSpPr>
            <p:nvPr/>
          </p:nvSpPr>
          <p:spPr bwMode="auto">
            <a:xfrm>
              <a:off x="6483350" y="3643313"/>
              <a:ext cx="611411" cy="255533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0180" tIns="35091" rIns="70180" bIns="35091">
              <a:spAutoFit/>
            </a:bodyPr>
            <a:lstStyle/>
            <a:p>
              <a:pPr algn="l" defTabSz="703263" eaLnBrk="0" hangingPunct="0"/>
              <a:r>
                <a:rPr lang="de-DE" sz="1200" b="1" dirty="0" err="1">
                  <a:solidFill>
                    <a:schemeClr val="tx1"/>
                  </a:solidFill>
                </a:rPr>
                <a:t>Akeno</a:t>
              </a:r>
              <a:endParaRPr lang="de-DE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03" name="Oval 112"/>
            <p:cNvSpPr>
              <a:spLocks noChangeAspect="1" noChangeArrowheads="1"/>
            </p:cNvSpPr>
            <p:nvPr/>
          </p:nvSpPr>
          <p:spPr bwMode="auto">
            <a:xfrm>
              <a:off x="2241550" y="3709988"/>
              <a:ext cx="153987" cy="147638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rgbClr val="00694F"/>
              </a:solidFill>
              <a:headEnd/>
              <a:tailEnd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2000" tIns="108000" rIns="72000" bIns="108000" anchor="ctr"/>
            <a:lstStyle/>
            <a:p>
              <a:endParaRPr lang="de-DE"/>
            </a:p>
          </p:txBody>
        </p:sp>
        <p:sp>
          <p:nvSpPr>
            <p:cNvPr id="204" name="Oval 207"/>
            <p:cNvSpPr>
              <a:spLocks noChangeAspect="1" noChangeArrowheads="1"/>
            </p:cNvSpPr>
            <p:nvPr/>
          </p:nvSpPr>
          <p:spPr bwMode="auto">
            <a:xfrm>
              <a:off x="4002088" y="3673475"/>
              <a:ext cx="153987" cy="147638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rgbClr val="00694F"/>
              </a:solidFill>
              <a:headEnd/>
              <a:tailEnd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2000" tIns="108000" rIns="72000" bIns="108000" anchor="ctr"/>
            <a:lstStyle/>
            <a:p>
              <a:endParaRPr lang="de-DE"/>
            </a:p>
          </p:txBody>
        </p:sp>
        <p:sp>
          <p:nvSpPr>
            <p:cNvPr id="205" name="Oval 208"/>
            <p:cNvSpPr>
              <a:spLocks noChangeAspect="1" noChangeArrowheads="1"/>
            </p:cNvSpPr>
            <p:nvPr/>
          </p:nvSpPr>
          <p:spPr bwMode="auto">
            <a:xfrm>
              <a:off x="4059238" y="3556000"/>
              <a:ext cx="153987" cy="147638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accent6">
                  <a:lumMod val="20000"/>
                  <a:lumOff val="80000"/>
                </a:schemeClr>
              </a:solidFill>
              <a:headEnd/>
              <a:tailEnd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2000" tIns="108000" rIns="72000" bIns="108000" anchor="ctr"/>
            <a:lstStyle/>
            <a:p>
              <a:endParaRPr lang="de-DE"/>
            </a:p>
          </p:txBody>
        </p:sp>
        <p:sp>
          <p:nvSpPr>
            <p:cNvPr id="206" name="Oval 209"/>
            <p:cNvSpPr>
              <a:spLocks noChangeAspect="1" noChangeArrowheads="1"/>
            </p:cNvSpPr>
            <p:nvPr/>
          </p:nvSpPr>
          <p:spPr bwMode="auto">
            <a:xfrm>
              <a:off x="5265738" y="4271963"/>
              <a:ext cx="153987" cy="147638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rgbClr val="00694F"/>
              </a:solidFill>
              <a:headEnd/>
              <a:tailEnd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2000" tIns="108000" rIns="72000" bIns="108000" anchor="ctr"/>
            <a:lstStyle/>
            <a:p>
              <a:endParaRPr lang="de-DE"/>
            </a:p>
          </p:txBody>
        </p:sp>
        <p:sp>
          <p:nvSpPr>
            <p:cNvPr id="207" name="Oval 210"/>
            <p:cNvSpPr>
              <a:spLocks noChangeAspect="1" noChangeArrowheads="1"/>
            </p:cNvSpPr>
            <p:nvPr/>
          </p:nvSpPr>
          <p:spPr bwMode="auto">
            <a:xfrm>
              <a:off x="5846763" y="4138613"/>
              <a:ext cx="153987" cy="147638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rgbClr val="00694F"/>
              </a:solidFill>
              <a:headEnd/>
              <a:tailEnd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2000" tIns="108000" rIns="72000" bIns="108000" anchor="ctr"/>
            <a:lstStyle/>
            <a:p>
              <a:endParaRPr lang="de-DE"/>
            </a:p>
          </p:txBody>
        </p:sp>
        <p:sp>
          <p:nvSpPr>
            <p:cNvPr id="208" name="Oval 211"/>
            <p:cNvSpPr>
              <a:spLocks noChangeAspect="1" noChangeArrowheads="1"/>
            </p:cNvSpPr>
            <p:nvPr/>
          </p:nvSpPr>
          <p:spPr bwMode="auto">
            <a:xfrm>
              <a:off x="5719763" y="4773613"/>
              <a:ext cx="153987" cy="14763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694F"/>
              </a:solidFill>
              <a:headEnd/>
              <a:tailEnd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2000" tIns="108000" rIns="72000" bIns="108000" anchor="ctr"/>
            <a:lstStyle/>
            <a:p>
              <a:endParaRPr lang="de-DE"/>
            </a:p>
          </p:txBody>
        </p:sp>
        <p:sp>
          <p:nvSpPr>
            <p:cNvPr id="209" name="Oval 212"/>
            <p:cNvSpPr>
              <a:spLocks noChangeAspect="1" noChangeArrowheads="1"/>
            </p:cNvSpPr>
            <p:nvPr/>
          </p:nvSpPr>
          <p:spPr bwMode="auto">
            <a:xfrm>
              <a:off x="3052763" y="5249863"/>
              <a:ext cx="153987" cy="147638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rgbClr val="00694F"/>
              </a:solidFill>
              <a:headEnd/>
              <a:tailEnd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72000" tIns="108000" rIns="72000" bIns="108000" anchor="ctr"/>
            <a:lstStyle/>
            <a:p>
              <a:endParaRPr lang="de-DE"/>
            </a:p>
          </p:txBody>
        </p:sp>
      </p:grpSp>
      <p:sp>
        <p:nvSpPr>
          <p:cNvPr id="83" name="Oval 211"/>
          <p:cNvSpPr>
            <a:spLocks noChangeAspect="1" noChangeArrowheads="1"/>
          </p:cNvSpPr>
          <p:nvPr/>
        </p:nvSpPr>
        <p:spPr bwMode="auto">
          <a:xfrm>
            <a:off x="7742072" y="2888585"/>
            <a:ext cx="153987" cy="147638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694F"/>
            </a:solidFill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72000" tIns="108000" rIns="72000" bIns="108000" anchor="ctr"/>
          <a:lstStyle/>
          <a:p>
            <a:endParaRPr lang="de-DE"/>
          </a:p>
        </p:txBody>
      </p:sp>
      <p:sp>
        <p:nvSpPr>
          <p:cNvPr id="84" name="Rectangle 83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59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816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dirty="0" smtClean="0"/>
              <a:t>Косметические силиконы – портфолио </a:t>
            </a:r>
            <a:endParaRPr lang="en-US" dirty="0"/>
          </a:p>
        </p:txBody>
      </p:sp>
      <p:sp>
        <p:nvSpPr>
          <p:cNvPr id="65" name="Inhaltsplatzhalter 51"/>
          <p:cNvSpPr>
            <a:spLocks noGrp="1"/>
          </p:cNvSpPr>
          <p:nvPr>
            <p:ph sz="half" idx="4294967295"/>
          </p:nvPr>
        </p:nvSpPr>
        <p:spPr>
          <a:xfrm>
            <a:off x="554306" y="1422400"/>
            <a:ext cx="4586654" cy="5191435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Эффекты</a:t>
            </a:r>
            <a:endParaRPr lang="de-DE" dirty="0" smtClean="0"/>
          </a:p>
          <a:p>
            <a:r>
              <a:rPr lang="ru-RU" sz="1300" dirty="0" smtClean="0"/>
              <a:t>Силиконы высоко ценятся за ощущения мягкости и гладкости, которыми они славятся. Помимо этого они выполняют важные функции, такие как лёгкость распределения, стойкость на коже, </a:t>
            </a:r>
            <a:r>
              <a:rPr lang="ru-RU" sz="1300" dirty="0" err="1" smtClean="0"/>
              <a:t>термозащита</a:t>
            </a:r>
            <a:r>
              <a:rPr lang="ru-RU" sz="1300" dirty="0" smtClean="0"/>
              <a:t>  и др.</a:t>
            </a:r>
            <a:r>
              <a:rPr lang="en-US" sz="1300" dirty="0" smtClean="0"/>
              <a:t>  </a:t>
            </a:r>
            <a:endParaRPr lang="en-US" sz="1300" dirty="0"/>
          </a:p>
        </p:txBody>
      </p:sp>
      <p:grpSp>
        <p:nvGrpSpPr>
          <p:cNvPr id="66" name="Gruppieren 65"/>
          <p:cNvGrpSpPr/>
          <p:nvPr/>
        </p:nvGrpSpPr>
        <p:grpSpPr>
          <a:xfrm>
            <a:off x="548775" y="2940782"/>
            <a:ext cx="1483261" cy="1075994"/>
            <a:chOff x="5555319" y="2897566"/>
            <a:chExt cx="1483261" cy="1075994"/>
          </a:xfrm>
        </p:grpSpPr>
        <p:pic>
          <p:nvPicPr>
            <p:cNvPr id="67" name="Picture 34" descr="https://wacker.picturepark.com/Website/Download.aspx?DownloadToken=993b4b39-7540-4efe-a467-d8388deb8c9f&amp;Purpose=AssetManager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153" b="17742"/>
            <a:stretch/>
          </p:blipFill>
          <p:spPr bwMode="auto">
            <a:xfrm>
              <a:off x="5560850" y="2897566"/>
              <a:ext cx="1475911" cy="10759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8" name="Textfeld 46"/>
            <p:cNvSpPr txBox="1">
              <a:spLocks noChangeArrowheads="1"/>
            </p:cNvSpPr>
            <p:nvPr/>
          </p:nvSpPr>
          <p:spPr bwMode="gray">
            <a:xfrm>
              <a:off x="5555319" y="2897566"/>
              <a:ext cx="1483261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Расчёсывание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9" name="Gruppieren 68"/>
          <p:cNvGrpSpPr/>
          <p:nvPr/>
        </p:nvGrpSpPr>
        <p:grpSpPr bwMode="gray">
          <a:xfrm>
            <a:off x="2067462" y="2940782"/>
            <a:ext cx="1492620" cy="1075994"/>
            <a:chOff x="6869025" y="3266193"/>
            <a:chExt cx="1492620" cy="1075994"/>
          </a:xfrm>
        </p:grpSpPr>
        <p:pic>
          <p:nvPicPr>
            <p:cNvPr id="70" name="Picture 4" descr="C:\Users\berreskat\Desktop\Bilder\SPX124146.jpg"/>
            <p:cNvPicPr preferRelativeResize="0"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50" t="21053" r="19356" b="19781"/>
            <a:stretch>
              <a:fillRect/>
            </a:stretch>
          </p:blipFill>
          <p:spPr bwMode="gray">
            <a:xfrm>
              <a:off x="6869025" y="3267943"/>
              <a:ext cx="1485194" cy="10742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1" name="Textfeld 50"/>
            <p:cNvSpPr txBox="1">
              <a:spLocks noChangeArrowheads="1"/>
            </p:cNvSpPr>
            <p:nvPr/>
          </p:nvSpPr>
          <p:spPr bwMode="gray">
            <a:xfrm>
              <a:off x="6869025" y="3266193"/>
              <a:ext cx="1492620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Смягчение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2" name="Gruppieren 71"/>
          <p:cNvGrpSpPr/>
          <p:nvPr/>
        </p:nvGrpSpPr>
        <p:grpSpPr>
          <a:xfrm>
            <a:off x="548775" y="4018796"/>
            <a:ext cx="1492581" cy="1064027"/>
            <a:chOff x="5555319" y="3975580"/>
            <a:chExt cx="1492581" cy="1064027"/>
          </a:xfrm>
        </p:grpSpPr>
        <p:pic>
          <p:nvPicPr>
            <p:cNvPr id="73" name="Picture 41" descr="https://wacker.picturepark.com/Website/Download.aspx?DownloadToken=c5c48c0e-d9f4-42eb-8d0c-b36a15dbe436&amp;Purpose=AssetManager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0849" y="4003915"/>
              <a:ext cx="1463477" cy="10356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Textfeld 53"/>
            <p:cNvSpPr txBox="1">
              <a:spLocks noChangeArrowheads="1"/>
            </p:cNvSpPr>
            <p:nvPr/>
          </p:nvSpPr>
          <p:spPr bwMode="gray">
            <a:xfrm>
              <a:off x="5555319" y="3975580"/>
              <a:ext cx="1492581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err="1" smtClean="0">
                  <a:solidFill>
                    <a:schemeClr val="tx1"/>
                  </a:solidFill>
                </a:rPr>
                <a:t>Сенсорика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Gruppieren 74"/>
          <p:cNvGrpSpPr/>
          <p:nvPr/>
        </p:nvGrpSpPr>
        <p:grpSpPr>
          <a:xfrm>
            <a:off x="3593576" y="2940782"/>
            <a:ext cx="1462920" cy="1075993"/>
            <a:chOff x="8600120" y="2897566"/>
            <a:chExt cx="1462920" cy="1075993"/>
          </a:xfrm>
        </p:grpSpPr>
        <p:pic>
          <p:nvPicPr>
            <p:cNvPr id="76" name="Picture 35" descr="https://wacker.picturepark.com/Website/Download.aspx?DownloadToken=2b0c53bf-c79d-4530-9689-1ceea3975d2d&amp;Purpose=AssetManager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1978" y="2906316"/>
              <a:ext cx="1461061" cy="10672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7" name="Textfeld 49"/>
            <p:cNvSpPr txBox="1">
              <a:spLocks noChangeArrowheads="1"/>
            </p:cNvSpPr>
            <p:nvPr/>
          </p:nvSpPr>
          <p:spPr bwMode="gray">
            <a:xfrm>
              <a:off x="8600120" y="2897566"/>
              <a:ext cx="1462920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Гладкость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8" name="Gruppieren 77"/>
          <p:cNvGrpSpPr/>
          <p:nvPr/>
        </p:nvGrpSpPr>
        <p:grpSpPr>
          <a:xfrm>
            <a:off x="2060036" y="4018796"/>
            <a:ext cx="1500046" cy="1064026"/>
            <a:chOff x="7066580" y="3975580"/>
            <a:chExt cx="1500046" cy="1064026"/>
          </a:xfrm>
        </p:grpSpPr>
        <p:pic>
          <p:nvPicPr>
            <p:cNvPr id="79" name="Picture 31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817" b="17734"/>
            <a:stretch/>
          </p:blipFill>
          <p:spPr bwMode="auto">
            <a:xfrm>
              <a:off x="7074006" y="4019869"/>
              <a:ext cx="1460007" cy="10197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0" name="Textfeld 48"/>
            <p:cNvSpPr txBox="1">
              <a:spLocks noChangeArrowheads="1"/>
            </p:cNvSpPr>
            <p:nvPr/>
          </p:nvSpPr>
          <p:spPr bwMode="gray">
            <a:xfrm>
              <a:off x="7066580" y="3975580"/>
              <a:ext cx="1500046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Распределение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Gruppieren 80"/>
          <p:cNvGrpSpPr/>
          <p:nvPr/>
        </p:nvGrpSpPr>
        <p:grpSpPr>
          <a:xfrm>
            <a:off x="3595396" y="4018796"/>
            <a:ext cx="1461100" cy="1064026"/>
            <a:chOff x="8601940" y="3975580"/>
            <a:chExt cx="1461100" cy="1064026"/>
          </a:xfrm>
        </p:grpSpPr>
        <p:pic>
          <p:nvPicPr>
            <p:cNvPr id="82" name="Picture 45" descr="https://wacker.picturepark.com/Website/Download.aspx?DownloadToken=b8e995d5-0b14-42ca-a673-d4f9d756243f&amp;Purpose=AssetManager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1978" y="4019870"/>
              <a:ext cx="1461062" cy="10197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3" name="Textfeld 51"/>
            <p:cNvSpPr txBox="1">
              <a:spLocks noChangeArrowheads="1"/>
            </p:cNvSpPr>
            <p:nvPr/>
          </p:nvSpPr>
          <p:spPr bwMode="gray">
            <a:xfrm>
              <a:off x="8601940" y="3975580"/>
              <a:ext cx="1461099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Блеск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4" name="Gruppieren 83"/>
          <p:cNvGrpSpPr/>
          <p:nvPr/>
        </p:nvGrpSpPr>
        <p:grpSpPr>
          <a:xfrm>
            <a:off x="548775" y="5089836"/>
            <a:ext cx="1555702" cy="1108092"/>
            <a:chOff x="5555319" y="5046620"/>
            <a:chExt cx="1555702" cy="1108092"/>
          </a:xfrm>
        </p:grpSpPr>
        <p:pic>
          <p:nvPicPr>
            <p:cNvPr id="85" name="Picture 8" descr="Lipstick Pay-off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319" y="5080711"/>
              <a:ext cx="1469007" cy="1074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6" name="Textfeld 47"/>
            <p:cNvSpPr txBox="1">
              <a:spLocks noChangeArrowheads="1"/>
            </p:cNvSpPr>
            <p:nvPr/>
          </p:nvSpPr>
          <p:spPr bwMode="gray">
            <a:xfrm>
              <a:off x="5555319" y="5046620"/>
              <a:ext cx="1555702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000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Стойкость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7" name="Gruppieren 86"/>
          <p:cNvGrpSpPr/>
          <p:nvPr/>
        </p:nvGrpSpPr>
        <p:grpSpPr>
          <a:xfrm>
            <a:off x="2056323" y="5082822"/>
            <a:ext cx="1503759" cy="1115107"/>
            <a:chOff x="7062867" y="5039606"/>
            <a:chExt cx="1503759" cy="1115107"/>
          </a:xfrm>
        </p:grpSpPr>
        <p:pic>
          <p:nvPicPr>
            <p:cNvPr id="88" name="Picture 37" descr="https://wacker.picturepark.com/Public/26/ThumbnailLarge/009D71EA-9796-4A62-BDCC-9A7D1557D38B.jpg?0_0_0_0_1_141_11_241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4006" y="5080711"/>
              <a:ext cx="1456546" cy="1074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9" name="Textfeld 58"/>
            <p:cNvSpPr txBox="1">
              <a:spLocks noChangeArrowheads="1"/>
            </p:cNvSpPr>
            <p:nvPr/>
          </p:nvSpPr>
          <p:spPr bwMode="gray">
            <a:xfrm>
              <a:off x="7062867" y="5039606"/>
              <a:ext cx="1503759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Фиксация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0" name="Gruppieren 89"/>
          <p:cNvGrpSpPr/>
          <p:nvPr/>
        </p:nvGrpSpPr>
        <p:grpSpPr>
          <a:xfrm>
            <a:off x="3593579" y="5093323"/>
            <a:ext cx="1462917" cy="1104605"/>
            <a:chOff x="8600123" y="5050107"/>
            <a:chExt cx="1462917" cy="1104605"/>
          </a:xfrm>
        </p:grpSpPr>
        <p:pic>
          <p:nvPicPr>
            <p:cNvPr id="91" name="Picture 46" descr="https://wacker.picturepark.com/Website/Download.aspx?DownloadToken=8bc69362-8dd6-4d9c-ad03-d2294e820bee&amp;Purpose=AssetManager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1978" y="5084171"/>
              <a:ext cx="1447255" cy="1070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" name="Textfeld 59"/>
            <p:cNvSpPr txBox="1">
              <a:spLocks noChangeArrowheads="1"/>
            </p:cNvSpPr>
            <p:nvPr/>
          </p:nvSpPr>
          <p:spPr bwMode="gray">
            <a:xfrm>
              <a:off x="8600123" y="5050107"/>
              <a:ext cx="1462917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Реология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sp>
        <p:nvSpPr>
          <p:cNvPr id="93" name="Text Box 47"/>
          <p:cNvSpPr txBox="1">
            <a:spLocks noChangeArrowheads="1"/>
          </p:cNvSpPr>
          <p:nvPr/>
        </p:nvSpPr>
        <p:spPr bwMode="gray">
          <a:xfrm>
            <a:off x="552486" y="6238177"/>
            <a:ext cx="4504009" cy="375657"/>
          </a:xfrm>
          <a:prstGeom prst="rect">
            <a:avLst/>
          </a:prstGeom>
          <a:noFill/>
          <a:ln w="6350">
            <a:solidFill>
              <a:schemeClr val="accent1"/>
            </a:solidFill>
            <a:prstDash val="solid"/>
          </a:ln>
          <a:extLst/>
        </p:spPr>
        <p:txBody>
          <a:bodyPr wrap="square" lIns="216000" tIns="90000" rIns="35993" bIns="90000" anchor="ctr">
            <a:spAutoFit/>
          </a:bodyPr>
          <a:lstStyle>
            <a:lvl1pPr marL="90488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1pPr>
            <a:lvl2pPr marL="742950" indent="-285750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2pPr>
            <a:lvl3pPr marL="1143000" indent="-228600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3pPr>
            <a:lvl4pPr marL="1600200" indent="-228600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4pPr>
            <a:lvl5pPr marL="2057400" indent="-228600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defTabSz="863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defTabSz="863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defTabSz="863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defTabSz="863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>
              <a:lnSpc>
                <a:spcPct val="90000"/>
              </a:lnSpc>
              <a:buClr>
                <a:srgbClr val="436597"/>
              </a:buClr>
              <a:buSzPct val="120000"/>
            </a:pPr>
            <a:r>
              <a:rPr lang="ru-RU" sz="1400" b="0" dirty="0" smtClean="0">
                <a:solidFill>
                  <a:srgbClr val="436597"/>
                </a:solidFill>
              </a:rPr>
              <a:t>Выше эффективность, приятная </a:t>
            </a:r>
            <a:r>
              <a:rPr lang="ru-RU" sz="1400" b="0" dirty="0" err="1" smtClean="0">
                <a:solidFill>
                  <a:srgbClr val="436597"/>
                </a:solidFill>
              </a:rPr>
              <a:t>сенсорика</a:t>
            </a:r>
            <a:endParaRPr lang="en-US" sz="1400" b="0" dirty="0">
              <a:solidFill>
                <a:srgbClr val="436597"/>
              </a:solidFill>
            </a:endParaRPr>
          </a:p>
        </p:txBody>
      </p:sp>
      <p:sp>
        <p:nvSpPr>
          <p:cNvPr id="94" name="Pfeil nach rechts 93"/>
          <p:cNvSpPr/>
          <p:nvPr/>
        </p:nvSpPr>
        <p:spPr bwMode="gray">
          <a:xfrm>
            <a:off x="552486" y="6286273"/>
            <a:ext cx="121444" cy="279464"/>
          </a:xfrm>
          <a:prstGeom prst="rightArrow">
            <a:avLst>
              <a:gd name="adj1" fmla="val 100000"/>
              <a:gd name="adj2" fmla="val 100000"/>
            </a:avLst>
          </a:prstGeom>
          <a:gradFill>
            <a:gsLst>
              <a:gs pos="100000">
                <a:schemeClr val="accent1">
                  <a:lumMod val="75000"/>
                </a:schemeClr>
              </a:gs>
              <a:gs pos="48000">
                <a:schemeClr val="accent1">
                  <a:lumMod val="60000"/>
                  <a:lumOff val="40000"/>
                </a:schemeClr>
              </a:gs>
              <a:gs pos="0">
                <a:schemeClr val="accent1">
                  <a:lumMod val="75000"/>
                </a:schemeClr>
              </a:gs>
            </a:gsLst>
            <a:lin ang="16200000" scaled="1"/>
          </a:gradFill>
          <a:ln>
            <a:noFill/>
          </a:ln>
          <a:effectLst>
            <a:innerShdw blurRad="152400">
              <a:schemeClr val="accent1">
                <a:lumMod val="75000"/>
                <a:alpha val="9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5" name="Inhaltsplatzhalter 2"/>
          <p:cNvSpPr>
            <a:spLocks noGrp="1"/>
          </p:cNvSpPr>
          <p:nvPr>
            <p:ph sz="half" idx="1"/>
          </p:nvPr>
        </p:nvSpPr>
        <p:spPr>
          <a:xfrm>
            <a:off x="5574175" y="1422400"/>
            <a:ext cx="4491023" cy="5224133"/>
          </a:xfrm>
        </p:spPr>
        <p:txBody>
          <a:bodyPr/>
          <a:lstStyle/>
          <a:p>
            <a:r>
              <a:rPr lang="ru-RU" sz="2000" dirty="0" smtClean="0"/>
              <a:t>Продукты</a:t>
            </a:r>
            <a:endParaRPr lang="de-DE" sz="2000" dirty="0" smtClean="0"/>
          </a:p>
          <a:p>
            <a:r>
              <a:rPr lang="ru-RU" sz="1400" dirty="0" smtClean="0"/>
              <a:t>Мы предлагаем обширный портфель высококачественных силиконов – от низковязких масел до специальных продуктов, таких как смолы, воски  и </a:t>
            </a:r>
            <a:r>
              <a:rPr lang="ru-RU" sz="1400" dirty="0" err="1" smtClean="0"/>
              <a:t>эластомерные</a:t>
            </a:r>
            <a:r>
              <a:rPr lang="ru-RU" sz="1400" dirty="0" smtClean="0"/>
              <a:t> гели. </a:t>
            </a:r>
            <a:endParaRPr lang="en-US" dirty="0"/>
          </a:p>
        </p:txBody>
      </p:sp>
      <p:pic>
        <p:nvPicPr>
          <p:cNvPr id="96" name="Picture 6" descr="http://zglobeteams/copi/S_MS432-PersonalCare/Prod_App_all/WackerImageLibrary/Product%20Photos/DM_5_layout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8751" y="2956012"/>
            <a:ext cx="1455778" cy="1058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Textfeld 36"/>
          <p:cNvSpPr txBox="1">
            <a:spLocks noChangeArrowheads="1"/>
          </p:cNvSpPr>
          <p:nvPr/>
        </p:nvSpPr>
        <p:spPr bwMode="gray">
          <a:xfrm>
            <a:off x="5578751" y="2956012"/>
            <a:ext cx="1455778" cy="304870"/>
          </a:xfrm>
          <a:prstGeom prst="rect">
            <a:avLst/>
          </a:prstGeom>
          <a:solidFill>
            <a:srgbClr val="FFFFFF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8561" tIns="44281" rIns="88561" bIns="44281">
            <a:spAutoFit/>
          </a:bodyPr>
          <a:lstStyle>
            <a:lvl1pPr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algn="ctr" defTabSz="903288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algn="ctr" defTabSz="903288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algn="ctr" defTabSz="903288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algn="ctr" defTabSz="903288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0" dirty="0" smtClean="0">
                <a:solidFill>
                  <a:schemeClr val="tx1"/>
                </a:solidFill>
              </a:rPr>
              <a:t>Низковязкие</a:t>
            </a:r>
            <a:endParaRPr lang="en-US" sz="1400" b="0" dirty="0">
              <a:solidFill>
                <a:schemeClr val="tx1"/>
              </a:solidFill>
            </a:endParaRPr>
          </a:p>
        </p:txBody>
      </p:sp>
      <p:grpSp>
        <p:nvGrpSpPr>
          <p:cNvPr id="102" name="Gruppieren 101"/>
          <p:cNvGrpSpPr/>
          <p:nvPr/>
        </p:nvGrpSpPr>
        <p:grpSpPr>
          <a:xfrm>
            <a:off x="8604139" y="2938510"/>
            <a:ext cx="1464774" cy="1085642"/>
            <a:chOff x="3663563" y="2897566"/>
            <a:chExt cx="1464774" cy="1085642"/>
          </a:xfrm>
        </p:grpSpPr>
        <p:pic>
          <p:nvPicPr>
            <p:cNvPr id="103" name="Picture 5" descr="20051212_58_BELSIL_ADM_1100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7632" y="2915068"/>
              <a:ext cx="1460705" cy="1068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5" name="Textfeld 40"/>
            <p:cNvSpPr txBox="1">
              <a:spLocks noChangeArrowheads="1"/>
            </p:cNvSpPr>
            <p:nvPr/>
          </p:nvSpPr>
          <p:spPr bwMode="gray">
            <a:xfrm>
              <a:off x="3663563" y="2897566"/>
              <a:ext cx="1464774" cy="289482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300" b="0" dirty="0" err="1" smtClean="0">
                  <a:solidFill>
                    <a:schemeClr val="tx1"/>
                  </a:solidFill>
                </a:rPr>
                <a:t>Амодиметиконы</a:t>
              </a:r>
              <a:endParaRPr lang="en-US" sz="13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6" name="Gruppieren 105"/>
          <p:cNvGrpSpPr/>
          <p:nvPr/>
        </p:nvGrpSpPr>
        <p:grpSpPr>
          <a:xfrm>
            <a:off x="7073042" y="2947261"/>
            <a:ext cx="1486090" cy="1067243"/>
            <a:chOff x="2132466" y="2906317"/>
            <a:chExt cx="1486090" cy="1067243"/>
          </a:xfrm>
        </p:grpSpPr>
        <p:pic>
          <p:nvPicPr>
            <p:cNvPr id="108" name="Picture 8" descr="Picture">
              <a:hlinkClick r:id="rId18"/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5499" y="2923794"/>
              <a:ext cx="1473057" cy="1049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9" name="Textfeld 41"/>
            <p:cNvSpPr txBox="1">
              <a:spLocks noChangeArrowheads="1"/>
            </p:cNvSpPr>
            <p:nvPr/>
          </p:nvSpPr>
          <p:spPr bwMode="gray">
            <a:xfrm>
              <a:off x="2132466" y="2906317"/>
              <a:ext cx="1485194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Высоковязкие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1" name="Gruppieren 110"/>
          <p:cNvGrpSpPr/>
          <p:nvPr/>
        </p:nvGrpSpPr>
        <p:grpSpPr>
          <a:xfrm>
            <a:off x="5574176" y="4019755"/>
            <a:ext cx="1473385" cy="1060795"/>
            <a:chOff x="633600" y="3978811"/>
            <a:chExt cx="1473385" cy="1060795"/>
          </a:xfrm>
        </p:grpSpPr>
        <p:pic>
          <p:nvPicPr>
            <p:cNvPr id="112" name="Picture 4" descr="20051212_27_BELSIL_CDM_3526_VP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175" y="4000710"/>
              <a:ext cx="1455778" cy="1038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4" name="Textfeld 37"/>
            <p:cNvSpPr txBox="1">
              <a:spLocks noChangeArrowheads="1"/>
            </p:cNvSpPr>
            <p:nvPr/>
          </p:nvSpPr>
          <p:spPr bwMode="gray">
            <a:xfrm>
              <a:off x="633600" y="3978811"/>
              <a:ext cx="1473385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Сил. воски</a:t>
              </a:r>
              <a:endParaRPr lang="de-DE" sz="1400" b="0" dirty="0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115" name="Picture 325" descr="HDK_H15_klein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556" y="5116134"/>
            <a:ext cx="1472160" cy="1079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" name="Textfeld 42"/>
          <p:cNvSpPr txBox="1">
            <a:spLocks noChangeArrowheads="1"/>
          </p:cNvSpPr>
          <p:nvPr/>
        </p:nvSpPr>
        <p:spPr bwMode="gray">
          <a:xfrm>
            <a:off x="5562366" y="5116168"/>
            <a:ext cx="1475876" cy="304870"/>
          </a:xfrm>
          <a:prstGeom prst="rect">
            <a:avLst/>
          </a:prstGeom>
          <a:solidFill>
            <a:srgbClr val="FFFFFF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8561" tIns="44281" rIns="88561" bIns="44281">
            <a:spAutoFit/>
          </a:bodyPr>
          <a:lstStyle>
            <a:lvl1pPr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defTabSz="903288" eaLnBrk="0" hangingPunct="0">
              <a:defRPr sz="2100" b="1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algn="ctr" defTabSz="903288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algn="ctr" defTabSz="903288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algn="ctr" defTabSz="903288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algn="ctr" defTabSz="903288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0" dirty="0" err="1" smtClean="0">
                <a:solidFill>
                  <a:schemeClr val="tx1"/>
                </a:solidFill>
              </a:rPr>
              <a:t>Силика</a:t>
            </a:r>
            <a:endParaRPr lang="en-US" sz="1400" b="0" dirty="0">
              <a:solidFill>
                <a:schemeClr val="tx1"/>
              </a:solidFill>
            </a:endParaRPr>
          </a:p>
        </p:txBody>
      </p:sp>
      <p:grpSp>
        <p:nvGrpSpPr>
          <p:cNvPr id="118" name="Gruppieren 117"/>
          <p:cNvGrpSpPr/>
          <p:nvPr/>
        </p:nvGrpSpPr>
        <p:grpSpPr>
          <a:xfrm>
            <a:off x="7073042" y="4019136"/>
            <a:ext cx="1490763" cy="1061414"/>
            <a:chOff x="2132466" y="3978192"/>
            <a:chExt cx="1490763" cy="1061414"/>
          </a:xfrm>
        </p:grpSpPr>
        <p:pic>
          <p:nvPicPr>
            <p:cNvPr id="120" name="Picture 27" descr="20051212_11_BELSIL_RG_100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5498" y="3994599"/>
              <a:ext cx="1472161" cy="104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1" name="Textfeld 39"/>
            <p:cNvSpPr txBox="1">
              <a:spLocks noChangeArrowheads="1"/>
            </p:cNvSpPr>
            <p:nvPr/>
          </p:nvSpPr>
          <p:spPr bwMode="gray">
            <a:xfrm>
              <a:off x="2132466" y="3978192"/>
              <a:ext cx="1490763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err="1" smtClean="0">
                  <a:solidFill>
                    <a:schemeClr val="tx1"/>
                  </a:solidFill>
                </a:rPr>
                <a:t>Эластом</a:t>
              </a:r>
              <a:r>
                <a:rPr lang="ru-RU" sz="1400" b="0" dirty="0" smtClean="0">
                  <a:solidFill>
                    <a:schemeClr val="tx1"/>
                  </a:solidFill>
                </a:rPr>
                <a:t>. гели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3" name="Gruppieren 122"/>
          <p:cNvGrpSpPr/>
          <p:nvPr/>
        </p:nvGrpSpPr>
        <p:grpSpPr>
          <a:xfrm>
            <a:off x="8604139" y="5116134"/>
            <a:ext cx="1464775" cy="1079524"/>
            <a:chOff x="3663563" y="5075190"/>
            <a:chExt cx="1464775" cy="1079524"/>
          </a:xfrm>
        </p:grpSpPr>
        <p:pic>
          <p:nvPicPr>
            <p:cNvPr id="124" name="Picture 17" descr="https://wacker.picturepark.com/Website/Download.aspx?DownloadToken=882ccbb2-4bd7-4c0e-9ff2-64712941d347&amp;Purpose=AssetManager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7632" y="5075190"/>
              <a:ext cx="1460706" cy="1079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7" name="Textfeld 57"/>
            <p:cNvSpPr txBox="1">
              <a:spLocks noChangeArrowheads="1"/>
            </p:cNvSpPr>
            <p:nvPr/>
          </p:nvSpPr>
          <p:spPr bwMode="gray">
            <a:xfrm>
              <a:off x="3663563" y="5080710"/>
              <a:ext cx="1461060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Эмульсии</a:t>
              </a:r>
              <a:endParaRPr lang="en-US" sz="1400" b="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8604139" y="4014504"/>
            <a:ext cx="1464774" cy="1066046"/>
            <a:chOff x="3663563" y="3973560"/>
            <a:chExt cx="1464774" cy="1066046"/>
          </a:xfrm>
        </p:grpSpPr>
        <p:pic>
          <p:nvPicPr>
            <p:cNvPr id="129" name="Picture 2" descr="http://zglobeteams/copi/S_MS432-PersonalCare/Prod_App_all/WackerImageLibrary/Product%20Photos/SPR_45_VP_layout.jp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7632" y="4003914"/>
              <a:ext cx="1460705" cy="10356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0" name="Textfeld 55"/>
            <p:cNvSpPr txBox="1">
              <a:spLocks noChangeArrowheads="1"/>
            </p:cNvSpPr>
            <p:nvPr/>
          </p:nvSpPr>
          <p:spPr bwMode="gray">
            <a:xfrm>
              <a:off x="3663563" y="3973560"/>
              <a:ext cx="1464774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Сил. смолы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sp>
        <p:nvSpPr>
          <p:cNvPr id="131" name="Text Box 47"/>
          <p:cNvSpPr txBox="1">
            <a:spLocks noChangeArrowheads="1"/>
          </p:cNvSpPr>
          <p:nvPr/>
        </p:nvSpPr>
        <p:spPr bwMode="gray">
          <a:xfrm>
            <a:off x="5575271" y="6235905"/>
            <a:ext cx="4493642" cy="375657"/>
          </a:xfrm>
          <a:prstGeom prst="rect">
            <a:avLst/>
          </a:prstGeom>
          <a:noFill/>
          <a:ln w="6350">
            <a:solidFill>
              <a:schemeClr val="accent1"/>
            </a:solidFill>
            <a:prstDash val="solid"/>
          </a:ln>
          <a:extLst/>
        </p:spPr>
        <p:txBody>
          <a:bodyPr wrap="square" lIns="216000" tIns="90000" rIns="35993" bIns="90000" anchor="ctr">
            <a:spAutoFit/>
          </a:bodyPr>
          <a:lstStyle>
            <a:lvl1pPr marL="90488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1pPr>
            <a:lvl2pPr marL="742950" indent="-285750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2pPr>
            <a:lvl3pPr marL="1143000" indent="-228600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3pPr>
            <a:lvl4pPr marL="1600200" indent="-228600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4pPr>
            <a:lvl5pPr marL="2057400" indent="-228600" defTabSz="863600" eaLnBrk="0" hangingPunct="0">
              <a:defRPr sz="2100" b="1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defTabSz="863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defTabSz="863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defTabSz="863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defTabSz="863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>
              <a:lnSpc>
                <a:spcPct val="90000"/>
              </a:lnSpc>
              <a:buClr>
                <a:srgbClr val="436597"/>
              </a:buClr>
              <a:buSzPct val="120000"/>
            </a:pPr>
            <a:r>
              <a:rPr lang="ru-RU" sz="1400" b="0" dirty="0" smtClean="0">
                <a:solidFill>
                  <a:srgbClr val="436597"/>
                </a:solidFill>
              </a:rPr>
              <a:t>Силиконовые масла, воски, смолы и эмульсии</a:t>
            </a:r>
            <a:endParaRPr lang="en-US" sz="1400" b="0" dirty="0">
              <a:solidFill>
                <a:srgbClr val="436597"/>
              </a:solidFill>
            </a:endParaRPr>
          </a:p>
        </p:txBody>
      </p:sp>
      <p:sp>
        <p:nvSpPr>
          <p:cNvPr id="132" name="Pfeil nach rechts 131"/>
          <p:cNvSpPr/>
          <p:nvPr/>
        </p:nvSpPr>
        <p:spPr bwMode="gray">
          <a:xfrm>
            <a:off x="5575271" y="6284001"/>
            <a:ext cx="121444" cy="279464"/>
          </a:xfrm>
          <a:prstGeom prst="rightArrow">
            <a:avLst>
              <a:gd name="adj1" fmla="val 100000"/>
              <a:gd name="adj2" fmla="val 100000"/>
            </a:avLst>
          </a:prstGeom>
          <a:gradFill>
            <a:gsLst>
              <a:gs pos="100000">
                <a:schemeClr val="accent1">
                  <a:lumMod val="75000"/>
                </a:schemeClr>
              </a:gs>
              <a:gs pos="48000">
                <a:schemeClr val="accent1">
                  <a:lumMod val="60000"/>
                  <a:lumOff val="40000"/>
                </a:schemeClr>
              </a:gs>
              <a:gs pos="0">
                <a:schemeClr val="accent1">
                  <a:lumMod val="75000"/>
                </a:schemeClr>
              </a:gs>
            </a:gsLst>
            <a:lin ang="16200000" scaled="1"/>
          </a:gradFill>
          <a:ln>
            <a:noFill/>
          </a:ln>
          <a:effectLst>
            <a:innerShdw blurRad="152400">
              <a:schemeClr val="accent1">
                <a:lumMod val="75000"/>
                <a:alpha val="9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33" name="Gruppieren 132"/>
          <p:cNvGrpSpPr/>
          <p:nvPr/>
        </p:nvGrpSpPr>
        <p:grpSpPr>
          <a:xfrm>
            <a:off x="7065157" y="5119706"/>
            <a:ext cx="1480045" cy="1075952"/>
            <a:chOff x="2124581" y="5078762"/>
            <a:chExt cx="1480045" cy="1075952"/>
          </a:xfrm>
        </p:grpSpPr>
        <p:pic>
          <p:nvPicPr>
            <p:cNvPr id="134" name="Picture 34" descr="P101_granules_solution_k1_select"/>
            <p:cNvPicPr>
              <a:picLocks noChangeAspect="1" noChangeArrowheads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543" b="19072"/>
            <a:stretch/>
          </p:blipFill>
          <p:spPr bwMode="auto">
            <a:xfrm>
              <a:off x="2132466" y="5080710"/>
              <a:ext cx="1472160" cy="1074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5" name="Textfeld 42"/>
            <p:cNvSpPr txBox="1">
              <a:spLocks noChangeArrowheads="1"/>
            </p:cNvSpPr>
            <p:nvPr/>
          </p:nvSpPr>
          <p:spPr bwMode="gray">
            <a:xfrm>
              <a:off x="2124581" y="5078762"/>
              <a:ext cx="1475876" cy="304870"/>
            </a:xfrm>
            <a:prstGeom prst="rect">
              <a:avLst/>
            </a:prstGeom>
            <a:solidFill>
              <a:srgbClr val="FFFFFF">
                <a:alpha val="7490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8561" tIns="44281" rIns="88561" bIns="44281">
              <a:spAutoFit/>
            </a:bodyPr>
            <a:lstStyle>
              <a:lvl1pPr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defTabSz="903288" eaLnBrk="0" hangingPunct="0"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defTabSz="903288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0" dirty="0" smtClean="0">
                  <a:solidFill>
                    <a:schemeClr val="tx1"/>
                  </a:solidFill>
                </a:rPr>
                <a:t>Сил. полимеры</a:t>
              </a:r>
              <a:endParaRPr lang="en-US" sz="1400" b="0" dirty="0">
                <a:solidFill>
                  <a:schemeClr val="tx1"/>
                </a:solidFill>
              </a:endParaRPr>
            </a:p>
          </p:txBody>
        </p:sp>
      </p:grpSp>
      <p:sp>
        <p:nvSpPr>
          <p:cNvPr id="62" name="Rectangle 61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LSIL</a:t>
            </a:r>
            <a:r>
              <a:rPr lang="en-US" baseline="30000" dirty="0" smtClean="0"/>
              <a:t>®</a:t>
            </a:r>
            <a:r>
              <a:rPr lang="en-US" dirty="0" smtClean="0"/>
              <a:t> PF 200 –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усилитель блеска волос</a:t>
            </a:r>
            <a:r>
              <a:rPr lang="ru-RU" smtClean="0"/>
              <a:t>, совместимый с </a:t>
            </a:r>
            <a:r>
              <a:rPr lang="ru-RU" dirty="0" smtClean="0"/>
              <a:t>водной фазой</a:t>
            </a:r>
            <a:endParaRPr lang="en-US" sz="1400" dirty="0"/>
          </a:p>
        </p:txBody>
      </p:sp>
      <p:sp>
        <p:nvSpPr>
          <p:cNvPr id="3" name="Rectangle 2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3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</p:spPr>
        <p:txBody>
          <a:bodyPr/>
          <a:lstStyle/>
          <a:p>
            <a:r>
              <a:rPr lang="en-US" dirty="0"/>
              <a:t>BELSIL</a:t>
            </a:r>
            <a:r>
              <a:rPr lang="en-US" baseline="30000" dirty="0"/>
              <a:t>®</a:t>
            </a:r>
            <a:r>
              <a:rPr lang="en-US" dirty="0"/>
              <a:t> </a:t>
            </a:r>
            <a:r>
              <a:rPr lang="en-US" dirty="0" smtClean="0"/>
              <a:t>PF 200</a:t>
            </a:r>
            <a:r>
              <a:rPr lang="ru-RU" dirty="0" smtClean="0"/>
              <a:t> </a:t>
            </a:r>
            <a:r>
              <a:rPr lang="en-US" baseline="30000" dirty="0" smtClean="0">
                <a:solidFill>
                  <a:schemeClr val="tx2"/>
                </a:solidFill>
              </a:rPr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Новая технология блеска от </a:t>
            </a:r>
            <a:r>
              <a:rPr lang="en-US" dirty="0" smtClean="0"/>
              <a:t>WACKER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9"/>
          </p:nvPr>
        </p:nvSpPr>
        <p:spPr bwMode="gray">
          <a:xfrm>
            <a:off x="3667224" y="1543050"/>
            <a:ext cx="6373176" cy="1683126"/>
          </a:xfrm>
        </p:spPr>
        <p:txBody>
          <a:bodyPr/>
          <a:lstStyle/>
          <a:p>
            <a:pPr lvl="0"/>
            <a:r>
              <a:rPr lang="ru-RU" dirty="0">
                <a:solidFill>
                  <a:srgbClr val="436597"/>
                </a:solidFill>
              </a:rPr>
              <a:t>Описание продукта</a:t>
            </a:r>
            <a:r>
              <a:rPr lang="en-US" dirty="0">
                <a:solidFill>
                  <a:srgbClr val="436597"/>
                </a:solidFill>
              </a:rPr>
              <a:t>:</a:t>
            </a:r>
          </a:p>
          <a:p>
            <a:pPr lvl="0"/>
            <a:r>
              <a:rPr lang="en-US" b="0" dirty="0">
                <a:solidFill>
                  <a:srgbClr val="313131"/>
                </a:solidFill>
              </a:rPr>
              <a:t>BELSIL</a:t>
            </a:r>
            <a:r>
              <a:rPr lang="en-US" b="0" baseline="30000" dirty="0">
                <a:solidFill>
                  <a:srgbClr val="313131"/>
                </a:solidFill>
              </a:rPr>
              <a:t>®</a:t>
            </a:r>
            <a:r>
              <a:rPr lang="en-US" b="0" dirty="0">
                <a:solidFill>
                  <a:srgbClr val="313131"/>
                </a:solidFill>
              </a:rPr>
              <a:t> PF 200 </a:t>
            </a:r>
            <a:r>
              <a:rPr lang="ru-RU" b="0" dirty="0">
                <a:solidFill>
                  <a:srgbClr val="313131"/>
                </a:solidFill>
              </a:rPr>
              <a:t>– силиконовая добавка для блеска      с высоким показателем преломления, хорошо совместимая с водой и </a:t>
            </a:r>
            <a:r>
              <a:rPr lang="ru-RU" b="0" dirty="0" smtClean="0">
                <a:solidFill>
                  <a:srgbClr val="313131"/>
                </a:solidFill>
              </a:rPr>
              <a:t>обладающая </a:t>
            </a:r>
            <a:r>
              <a:rPr lang="ru-RU" b="0" dirty="0">
                <a:solidFill>
                  <a:srgbClr val="313131"/>
                </a:solidFill>
              </a:rPr>
              <a:t>свойствами самодиспрегируемости</a:t>
            </a:r>
            <a:endParaRPr lang="en-US" dirty="0">
              <a:solidFill>
                <a:srgbClr val="436597"/>
              </a:solidFill>
            </a:endParaRPr>
          </a:p>
          <a:p>
            <a:r>
              <a:rPr lang="bg-BG" b="0" dirty="0"/>
              <a:t>Характеристики продукта:</a:t>
            </a:r>
          </a:p>
          <a:p>
            <a:endParaRPr lang="en-US" b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</p:spPr>
        <p:txBody>
          <a:bodyPr/>
          <a:lstStyle/>
          <a:p>
            <a:r>
              <a:rPr lang="en-US" dirty="0" smtClean="0"/>
              <a:t>INCI: </a:t>
            </a:r>
            <a:r>
              <a:rPr lang="en-US" dirty="0"/>
              <a:t>PEG/PPG-20/20 </a:t>
            </a:r>
            <a:r>
              <a:rPr lang="en-US" dirty="0" err="1"/>
              <a:t>Phenylisopropyl</a:t>
            </a:r>
            <a:r>
              <a:rPr lang="en-US" dirty="0"/>
              <a:t> </a:t>
            </a:r>
            <a:r>
              <a:rPr lang="en-US" dirty="0" err="1"/>
              <a:t>Caprylyl</a:t>
            </a:r>
            <a:r>
              <a:rPr lang="en-US" dirty="0"/>
              <a:t> </a:t>
            </a:r>
            <a:r>
              <a:rPr lang="en-US" dirty="0" err="1"/>
              <a:t>Dimethicone</a:t>
            </a:r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 bwMode="gray">
          <a:xfrm>
            <a:off x="3443028" y="1610414"/>
            <a:ext cx="0" cy="368771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478797"/>
              </p:ext>
            </p:extLst>
          </p:nvPr>
        </p:nvGraphicFramePr>
        <p:xfrm>
          <a:off x="3609755" y="3771996"/>
          <a:ext cx="6430645" cy="2334164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1221552"/>
                <a:gridCol w="2116008"/>
                <a:gridCol w="1630680"/>
                <a:gridCol w="1462405"/>
              </a:tblGrid>
              <a:tr h="1054004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Сод. акт.</a:t>
                      </a:r>
                      <a:r>
                        <a:rPr lang="ru-RU" sz="1800" b="1" baseline="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      в-</a:t>
                      </a:r>
                      <a:r>
                        <a:rPr lang="ru-RU" sz="1800" b="1" baseline="0" dirty="0" err="1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ва</a:t>
                      </a:r>
                      <a:r>
                        <a:rPr lang="ru-RU" sz="1800" b="1" baseline="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 </a:t>
                      </a:r>
                      <a:r>
                        <a:rPr lang="en-US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%]</a:t>
                      </a: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</a:rPr>
                        <a:t>Показатель преломления </a:t>
                      </a:r>
                      <a:r>
                        <a:rPr kumimoji="0" lang="de-DE" sz="18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</a:rPr>
                        <a:t>n</a:t>
                      </a:r>
                      <a:r>
                        <a:rPr kumimoji="0" lang="de-DE" sz="1800" b="1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</a:rPr>
                        <a:t>D</a:t>
                      </a:r>
                      <a:r>
                        <a:rPr kumimoji="0" lang="de-DE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</a:rPr>
                        <a:t> </a:t>
                      </a:r>
                      <a:r>
                        <a:rPr kumimoji="0" lang="de-DE" sz="1800" b="1" u="none" strike="noStrike" cap="none" normalizeH="0" baseline="-2500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</a:rPr>
                        <a:t>25°C</a:t>
                      </a:r>
                      <a:endParaRPr kumimoji="0" lang="de-DE" sz="1800" b="1" i="0" u="none" strike="noStrike" cap="none" normalizeH="0" baseline="-2500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Внешний вид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ГЛБ, расчёт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5047">
                <a:tc>
                  <a:txBody>
                    <a:bodyPr/>
                    <a:lstStyle/>
                    <a:p>
                      <a:pPr algn="l"/>
                      <a:r>
                        <a:rPr lang="de-DE" sz="1800" b="0" cap="none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00</a:t>
                      </a:r>
                      <a:endParaRPr sz="1800" b="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587" lvl="1" indent="0" algn="l" defTabSz="914400" rtl="0" eaLnBrk="1" fontAlgn="t" latinLnBrk="0" hangingPunct="1">
                        <a:buClr>
                          <a:schemeClr val="tx1"/>
                        </a:buClr>
                        <a:buFontTx/>
                        <a:buNone/>
                      </a:pPr>
                      <a:r>
                        <a:rPr lang="de-DE" sz="18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,458</a:t>
                      </a:r>
                      <a:endParaRPr lang="en-US" sz="1800" kern="1200" dirty="0" smtClean="0">
                        <a:solidFill>
                          <a:schemeClr val="tx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effectLst/>
                        </a:rPr>
                        <a:t>Прозрачная, либо слегка желтоватая жидкость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4,5 – 5,5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feld 2"/>
          <p:cNvSpPr txBox="1"/>
          <p:nvPr/>
        </p:nvSpPr>
        <p:spPr bwMode="gray">
          <a:xfrm>
            <a:off x="652462" y="4867815"/>
            <a:ext cx="2627137" cy="681324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pPr algn="ctr"/>
            <a:r>
              <a:rPr lang="en-US" dirty="0">
                <a:solidFill>
                  <a:srgbClr val="313131"/>
                </a:solidFill>
              </a:rPr>
              <a:t>BELSIL</a:t>
            </a:r>
            <a:r>
              <a:rPr lang="en-US" baseline="30000" dirty="0">
                <a:solidFill>
                  <a:srgbClr val="313131"/>
                </a:solidFill>
              </a:rPr>
              <a:t>®</a:t>
            </a:r>
            <a:endParaRPr lang="de-DE" dirty="0" smtClean="0">
              <a:solidFill>
                <a:srgbClr val="313131"/>
              </a:solidFill>
            </a:endParaRPr>
          </a:p>
          <a:p>
            <a:pPr algn="ctr"/>
            <a:r>
              <a:rPr lang="de-DE" dirty="0" smtClean="0">
                <a:solidFill>
                  <a:srgbClr val="313131"/>
                </a:solidFill>
              </a:rPr>
              <a:t>PF 200</a:t>
            </a:r>
          </a:p>
        </p:txBody>
      </p:sp>
      <p:pic>
        <p:nvPicPr>
          <p:cNvPr id="10" name="Bildplatzhalter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21" r="20721"/>
          <a:stretch>
            <a:fillRect/>
          </a:stretch>
        </p:blipFill>
        <p:spPr>
          <a:xfrm>
            <a:off x="652463" y="1610414"/>
            <a:ext cx="2700337" cy="3073654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61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93491680"/>
              </p:ext>
            </p:extLst>
          </p:nvPr>
        </p:nvGraphicFramePr>
        <p:xfrm>
          <a:off x="1838960" y="4081482"/>
          <a:ext cx="3099398" cy="22959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0" name="CS ChemDraw Drawing" r:id="rId3" imgW="3907170" imgH="2893623" progId="ChemDraw.Document.6.0">
                  <p:embed/>
                </p:oleObj>
              </mc:Choice>
              <mc:Fallback>
                <p:oleObj name="CS ChemDraw Drawing" r:id="rId3" imgW="3907170" imgH="2893623" progId="ChemDraw.Document.6.0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8960" y="4081482"/>
                        <a:ext cx="3099398" cy="229591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668637" y="1609725"/>
            <a:ext cx="4410000" cy="5080000"/>
          </a:xfrm>
        </p:spPr>
        <p:txBody>
          <a:bodyPr/>
          <a:lstStyle/>
          <a:p>
            <a:pPr lvl="0"/>
            <a:r>
              <a:rPr lang="en-US" dirty="0">
                <a:solidFill>
                  <a:srgbClr val="436597"/>
                </a:solidFill>
              </a:rPr>
              <a:t>BELSIL</a:t>
            </a:r>
            <a:r>
              <a:rPr lang="en-US" baseline="30000" dirty="0">
                <a:solidFill>
                  <a:srgbClr val="436597"/>
                </a:solidFill>
              </a:rPr>
              <a:t>®</a:t>
            </a:r>
            <a:r>
              <a:rPr lang="en-US" dirty="0">
                <a:solidFill>
                  <a:srgbClr val="436597"/>
                </a:solidFill>
              </a:rPr>
              <a:t> PF 200 </a:t>
            </a:r>
            <a:r>
              <a:rPr lang="ru-RU" dirty="0">
                <a:solidFill>
                  <a:srgbClr val="436597"/>
                </a:solidFill>
              </a:rPr>
              <a:t>– это амфифильный органический </a:t>
            </a:r>
            <a:r>
              <a:rPr lang="ru-RU" dirty="0" err="1">
                <a:solidFill>
                  <a:srgbClr val="436597"/>
                </a:solidFill>
              </a:rPr>
              <a:t>полисилоксан</a:t>
            </a:r>
            <a:r>
              <a:rPr lang="ru-RU" dirty="0">
                <a:solidFill>
                  <a:srgbClr val="436597"/>
                </a:solidFill>
              </a:rPr>
              <a:t>, содержащий:</a:t>
            </a:r>
            <a:endParaRPr lang="en-US" dirty="0">
              <a:solidFill>
                <a:srgbClr val="436597"/>
              </a:solidFill>
            </a:endParaRPr>
          </a:p>
          <a:p>
            <a:pPr marL="342900" lvl="1" indent="-342900">
              <a:spcAft>
                <a:spcPts val="0"/>
              </a:spcAft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313131"/>
                </a:solidFill>
              </a:rPr>
              <a:t>фенильную</a:t>
            </a:r>
            <a:r>
              <a:rPr lang="ru-RU" dirty="0">
                <a:solidFill>
                  <a:srgbClr val="313131"/>
                </a:solidFill>
              </a:rPr>
              <a:t> группу</a:t>
            </a:r>
            <a:r>
              <a:rPr lang="en-US" dirty="0">
                <a:solidFill>
                  <a:srgbClr val="313131"/>
                </a:solidFill>
              </a:rPr>
              <a:t> </a:t>
            </a:r>
          </a:p>
          <a:p>
            <a:pPr marL="342900" lvl="1" indent="-342900">
              <a:spcAft>
                <a:spcPts val="0"/>
              </a:spcAft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13131"/>
                </a:solidFill>
              </a:rPr>
              <a:t>гидрофильные группы</a:t>
            </a:r>
            <a:endParaRPr lang="en-US" dirty="0">
              <a:solidFill>
                <a:srgbClr val="313131"/>
              </a:solidFill>
            </a:endParaRPr>
          </a:p>
          <a:p>
            <a:pPr marL="342900" lvl="1" indent="-342900">
              <a:spcAft>
                <a:spcPts val="0"/>
              </a:spcAft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13131"/>
                </a:solidFill>
              </a:rPr>
              <a:t>длинноцепочечные </a:t>
            </a:r>
            <a:r>
              <a:rPr lang="ru-RU" dirty="0" smtClean="0">
                <a:solidFill>
                  <a:srgbClr val="313131"/>
                </a:solidFill>
              </a:rPr>
              <a:t>алкильные группы </a:t>
            </a:r>
            <a:endParaRPr lang="en-US" dirty="0">
              <a:solidFill>
                <a:srgbClr val="313131"/>
              </a:solidFill>
            </a:endParaRP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LSIL</a:t>
            </a:r>
            <a:r>
              <a:rPr lang="en-US" baseline="30000" dirty="0"/>
              <a:t>®</a:t>
            </a:r>
            <a:r>
              <a:rPr lang="en-US" dirty="0"/>
              <a:t> PF 200 </a:t>
            </a:r>
            <a:r>
              <a:rPr lang="ru-RU" dirty="0" smtClean="0"/>
              <a:t>– новая технология усиления блеска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ru-RU" dirty="0">
                <a:solidFill>
                  <a:srgbClr val="436597"/>
                </a:solidFill>
              </a:rPr>
              <a:t>Преимущества</a:t>
            </a:r>
            <a:endParaRPr lang="en-US" dirty="0">
              <a:solidFill>
                <a:srgbClr val="436597"/>
              </a:solidFill>
            </a:endParaRPr>
          </a:p>
          <a:p>
            <a:pPr marL="342900" lvl="1" indent="-342900"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13131"/>
                </a:solidFill>
              </a:rPr>
              <a:t>высокий показатель преломления обеспечивает интенсивный блеск </a:t>
            </a:r>
          </a:p>
          <a:p>
            <a:pPr marL="342900" lvl="1" indent="-342900"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313131"/>
                </a:solidFill>
              </a:rPr>
              <a:t>самодиспрегируется</a:t>
            </a:r>
            <a:r>
              <a:rPr lang="ru-RU" dirty="0">
                <a:solidFill>
                  <a:srgbClr val="313131"/>
                </a:solidFill>
              </a:rPr>
              <a:t> в воде = прозрачные водные рецептуры </a:t>
            </a:r>
          </a:p>
          <a:p>
            <a:pPr marL="342900" lvl="1" indent="-342900"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13131"/>
                </a:solidFill>
              </a:rPr>
              <a:t>совместим с широким спектром эфиров и косметических масел </a:t>
            </a:r>
          </a:p>
          <a:p>
            <a:pPr marL="342900" lvl="1" indent="-342900"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13131"/>
                </a:solidFill>
              </a:rPr>
              <a:t>легко </a:t>
            </a:r>
            <a:r>
              <a:rPr lang="ru-RU" dirty="0" err="1">
                <a:solidFill>
                  <a:srgbClr val="313131"/>
                </a:solidFill>
              </a:rPr>
              <a:t>самодиспергируется</a:t>
            </a:r>
            <a:r>
              <a:rPr lang="ru-RU" dirty="0">
                <a:solidFill>
                  <a:srgbClr val="313131"/>
                </a:solidFill>
              </a:rPr>
              <a:t> до состояния </a:t>
            </a:r>
            <a:r>
              <a:rPr lang="ru-RU" dirty="0" err="1">
                <a:solidFill>
                  <a:srgbClr val="313131"/>
                </a:solidFill>
              </a:rPr>
              <a:t>микроэмульсии</a:t>
            </a:r>
            <a:endParaRPr lang="ru-RU" dirty="0">
              <a:solidFill>
                <a:srgbClr val="313131"/>
              </a:solidFill>
            </a:endParaRPr>
          </a:p>
          <a:p>
            <a:pPr marL="342900" lvl="1" indent="-342900"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13131"/>
                </a:solidFill>
              </a:rPr>
              <a:t>D4/D5 &lt; 1000 ppm</a:t>
            </a:r>
          </a:p>
          <a:p>
            <a:pPr marL="342900" lvl="1" indent="-342900">
              <a:buClr>
                <a:srgbClr val="436597"/>
              </a:buClr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313131"/>
                </a:solidFill>
              </a:rPr>
              <a:t>Защищено патентом </a:t>
            </a:r>
            <a:r>
              <a:rPr lang="en-US" b="1" dirty="0">
                <a:solidFill>
                  <a:srgbClr val="313131"/>
                </a:solidFill>
              </a:rPr>
              <a:t>Wacker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86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/>
            <a:r>
              <a:rPr lang="en-US" dirty="0" smtClean="0"/>
              <a:t>Formulation HAS-LA24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2566" y="2049621"/>
            <a:ext cx="3519170" cy="2639377"/>
          </a:xfr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зрачный шампунь для блеска волос</a:t>
            </a:r>
            <a:endParaRPr lang="en-US" dirty="0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5197951"/>
              </p:ext>
            </p:extLst>
          </p:nvPr>
        </p:nvGraphicFramePr>
        <p:xfrm>
          <a:off x="3596640" y="1609725"/>
          <a:ext cx="6444621" cy="5187314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2636520"/>
                <a:gridCol w="2636520"/>
                <a:gridCol w="1171581"/>
              </a:tblGrid>
              <a:tr h="58736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INCI-name</a:t>
                      </a:r>
                      <a:endParaRPr lang="en-US" sz="1600" b="1" i="0" u="none" strike="noStrike" dirty="0">
                        <a:solidFill>
                          <a:schemeClr val="accent1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Trade Name</a:t>
                      </a:r>
                      <a:endParaRPr lang="en-US" sz="1600" b="1" i="0" u="none" strike="noStrike" dirty="0">
                        <a:solidFill>
                          <a:schemeClr val="accent1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600" b="1" i="0" u="none" strike="noStrike" dirty="0">
                        <a:solidFill>
                          <a:schemeClr val="accent1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430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Polyquaternium-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UCARE Polymer JR 4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0.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29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Aqua (DI Water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Wat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18.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878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Cocamide ME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err="1">
                          <a:effectLst/>
                        </a:rPr>
                        <a:t>Comperlan</a:t>
                      </a:r>
                      <a:r>
                        <a:rPr lang="en-US" sz="1600" u="none" strike="noStrike" dirty="0">
                          <a:effectLst/>
                        </a:rPr>
                        <a:t> 1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1.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29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Sodium </a:t>
                      </a:r>
                      <a:r>
                        <a:rPr lang="en-US" sz="1600" u="none" strike="noStrike" dirty="0" err="1">
                          <a:effectLst/>
                        </a:rPr>
                        <a:t>Laureth</a:t>
                      </a:r>
                      <a:r>
                        <a:rPr lang="en-US" sz="1600" u="none" strike="noStrike" dirty="0">
                          <a:effectLst/>
                        </a:rPr>
                        <a:t> Sulfa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err="1">
                          <a:effectLst/>
                        </a:rPr>
                        <a:t>Genapol</a:t>
                      </a:r>
                      <a:r>
                        <a:rPr lang="en-US" sz="1600" u="none" strike="noStrike" dirty="0">
                          <a:effectLst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</a:rPr>
                        <a:t>LRO (26,5%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52.8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123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PEG-120 Methyl Glucose </a:t>
                      </a:r>
                      <a:r>
                        <a:rPr lang="en-US" sz="1600" u="none" strike="noStrike" dirty="0" err="1">
                          <a:effectLst/>
                        </a:rPr>
                        <a:t>Diolea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err="1">
                          <a:effectLst/>
                        </a:rPr>
                        <a:t>Glucamate</a:t>
                      </a:r>
                      <a:r>
                        <a:rPr lang="en-US" sz="1600" u="none" strike="noStrike" dirty="0">
                          <a:effectLst/>
                        </a:rPr>
                        <a:t> DOE 1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0.8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9225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PEG/PPG-20/20 </a:t>
                      </a:r>
                      <a:r>
                        <a:rPr lang="en-US" sz="1600" b="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Phenylisopropyl</a:t>
                      </a:r>
                      <a:r>
                        <a:rPr lang="en-US" sz="16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n-US" sz="1600" b="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Caprylyl</a:t>
                      </a:r>
                      <a:r>
                        <a:rPr lang="en-US" sz="16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n-US" sz="1600" b="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Dimethicone</a:t>
                      </a:r>
                      <a:endParaRPr lang="en-US" sz="1600" b="0" i="0" u="none" strike="noStrike" dirty="0">
                        <a:solidFill>
                          <a:schemeClr val="tx2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BELSIL® PF 200</a:t>
                      </a:r>
                      <a:endParaRPr lang="en-US" sz="1600" b="0" i="0" u="none" strike="noStrike" dirty="0">
                        <a:solidFill>
                          <a:schemeClr val="tx2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0.5</a:t>
                      </a:r>
                      <a:endParaRPr lang="en-US" sz="1600" b="0" i="0" u="none" strike="noStrike" dirty="0">
                        <a:solidFill>
                          <a:schemeClr val="tx2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479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err="1">
                          <a:effectLst/>
                        </a:rPr>
                        <a:t>Phenoxyethanol</a:t>
                      </a:r>
                      <a:r>
                        <a:rPr lang="en-US" sz="1600" u="none" strike="noStrike" dirty="0">
                          <a:effectLst/>
                        </a:rPr>
                        <a:t> </a:t>
                      </a:r>
                      <a:r>
                        <a:rPr lang="en-US" sz="1600" u="none" strike="noStrike" dirty="0" err="1">
                          <a:effectLst/>
                        </a:rPr>
                        <a:t>Ethylhexylglyceri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err="1">
                          <a:effectLst/>
                        </a:rPr>
                        <a:t>Euxyl</a:t>
                      </a:r>
                      <a:r>
                        <a:rPr lang="en-US" sz="1600" u="none" strike="noStrike" dirty="0">
                          <a:effectLst/>
                        </a:rPr>
                        <a:t> PE 90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0.9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2214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err="1">
                          <a:effectLst/>
                        </a:rPr>
                        <a:t>Cocamidopropyl</a:t>
                      </a:r>
                      <a:r>
                        <a:rPr lang="en-US" sz="1600" u="none" strike="noStrike" dirty="0">
                          <a:effectLst/>
                        </a:rPr>
                        <a:t> </a:t>
                      </a:r>
                      <a:r>
                        <a:rPr lang="en-US" sz="1600" u="none" strike="noStrike" dirty="0" err="1">
                          <a:effectLst/>
                        </a:rPr>
                        <a:t>Betain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err="1">
                          <a:effectLst/>
                        </a:rPr>
                        <a:t>Genagen</a:t>
                      </a:r>
                      <a:r>
                        <a:rPr lang="en-US" sz="1600" u="none" strike="noStrike" dirty="0">
                          <a:effectLst/>
                        </a:rPr>
                        <a:t> CAB </a:t>
                      </a:r>
                      <a:r>
                        <a:rPr lang="en-US" sz="1600" u="none" strike="noStrike" dirty="0" smtClean="0">
                          <a:effectLst/>
                        </a:rPr>
                        <a:t>818 (30%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10.0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9519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Aqua (DI Water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Wat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14,2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532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smtClean="0">
                          <a:effectLst/>
                        </a:rPr>
                        <a:t>Sodium Chlor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smtClean="0">
                          <a:effectLst/>
                        </a:rPr>
                        <a:t>Natriumchlori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1.5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487" marR="9487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73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16" t="9118" r="24051"/>
          <a:stretch/>
        </p:blipFill>
        <p:spPr>
          <a:xfrm>
            <a:off x="652463" y="1609725"/>
            <a:ext cx="3037410" cy="4822349"/>
          </a:xfr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313131"/>
                </a:solidFill>
              </a:rPr>
              <a:t>Высокая стабильность системы при хранении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630400" y="1544638"/>
            <a:ext cx="3976179" cy="5080000"/>
          </a:xfrm>
        </p:spPr>
        <p:txBody>
          <a:bodyPr/>
          <a:lstStyle/>
          <a:p>
            <a:pPr lvl="0"/>
            <a:r>
              <a:rPr lang="ru-RU" dirty="0">
                <a:solidFill>
                  <a:srgbClr val="436597"/>
                </a:solidFill>
              </a:rPr>
              <a:t>Внешний вид шампуня</a:t>
            </a:r>
            <a:endParaRPr lang="de-DE" dirty="0">
              <a:solidFill>
                <a:srgbClr val="436597"/>
              </a:solidFill>
            </a:endParaRPr>
          </a:p>
          <a:p>
            <a:pPr lvl="1">
              <a:buClr>
                <a:srgbClr val="436597"/>
              </a:buClr>
            </a:pPr>
            <a:r>
              <a:rPr lang="ru-RU" dirty="0">
                <a:solidFill>
                  <a:srgbClr val="313131"/>
                </a:solidFill>
              </a:rPr>
              <a:t>Шампунь остаётся прозрачным после 4-х недель хранения                   в камере с температурой </a:t>
            </a:r>
            <a:r>
              <a:rPr lang="de-DE" dirty="0">
                <a:solidFill>
                  <a:srgbClr val="313131"/>
                </a:solidFill>
              </a:rPr>
              <a:t>45 °C</a:t>
            </a:r>
          </a:p>
        </p:txBody>
      </p:sp>
      <p:sp>
        <p:nvSpPr>
          <p:cNvPr id="7" name="Textfeld 6"/>
          <p:cNvSpPr txBox="1"/>
          <p:nvPr/>
        </p:nvSpPr>
        <p:spPr bwMode="gray">
          <a:xfrm>
            <a:off x="849854" y="5388582"/>
            <a:ext cx="2700170" cy="914400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pPr algn="ctr"/>
            <a:r>
              <a:rPr lang="ru-RU" dirty="0" smtClean="0">
                <a:solidFill>
                  <a:srgbClr val="436597"/>
                </a:solidFill>
              </a:rPr>
              <a:t>Шампунь после </a:t>
            </a:r>
          </a:p>
          <a:p>
            <a:pPr algn="ctr"/>
            <a:r>
              <a:rPr lang="ru-RU" dirty="0" smtClean="0">
                <a:solidFill>
                  <a:srgbClr val="436597"/>
                </a:solidFill>
              </a:rPr>
              <a:t>4 недель хранения </a:t>
            </a:r>
          </a:p>
          <a:p>
            <a:pPr algn="ctr"/>
            <a:r>
              <a:rPr lang="ru-RU" dirty="0" smtClean="0">
                <a:solidFill>
                  <a:srgbClr val="436597"/>
                </a:solidFill>
              </a:rPr>
              <a:t>при</a:t>
            </a:r>
            <a:r>
              <a:rPr lang="de-DE" dirty="0" smtClean="0">
                <a:solidFill>
                  <a:srgbClr val="436597"/>
                </a:solidFill>
              </a:rPr>
              <a:t> 45 °C</a:t>
            </a:r>
          </a:p>
        </p:txBody>
      </p:sp>
      <p:sp>
        <p:nvSpPr>
          <p:cNvPr id="8" name="Rectangle 7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92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3_powerpoint_master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10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ACKER ACADEMY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3.xml><?xml version="1.0" encoding="utf-8"?>
<a:theme xmlns:a="http://schemas.openxmlformats.org/drawingml/2006/main" name="1_2013_powerpoint_master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4.xml><?xml version="1.0" encoding="utf-8"?>
<a:theme xmlns:a="http://schemas.openxmlformats.org/drawingml/2006/main" name="2_2013_powerpoint_master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5.xml><?xml version="1.0" encoding="utf-8"?>
<a:theme xmlns:a="http://schemas.openxmlformats.org/drawingml/2006/main" name="3_2013_powerpoint_master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6.xml><?xml version="1.0" encoding="utf-8"?>
<a:theme xmlns:a="http://schemas.openxmlformats.org/drawingml/2006/main" name="4_2013_powerpoint_master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7.xml><?xml version="1.0" encoding="utf-8"?>
<a:theme xmlns:a="http://schemas.openxmlformats.org/drawingml/2006/main" name="5_2013_powerpoint_master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8.xml><?xml version="1.0" encoding="utf-8"?>
<a:theme xmlns:a="http://schemas.openxmlformats.org/drawingml/2006/main" name="6_2013_powerpoint_master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9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EF752C6241E446879002E1CC8F2A9400372866B19C932442BB8501C77B9A67F5" ma:contentTypeVersion="1" ma:contentTypeDescription="Create a new document." ma:contentTypeScope="" ma:versionID="dedad82ffe981faa1cd7c78dda9029f9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f36b9f324de7bc675cafdedd33fa961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Comme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mment" ma:index="8" nillable="true" ma:displayName="Description" ma:internalName="Comment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12279F5-E46F-4404-B10F-402FA824D34A}">
  <ds:schemaRefs>
    <ds:schemaRef ds:uri="http://schemas.microsoft.com/sharepoint/v3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E8378B2-6685-4D7E-A6F0-AA8DCD1220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4610255-DA0E-40A6-906C-135822622A0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3_powerpoint_master</Template>
  <TotalTime>466</TotalTime>
  <Words>1128</Words>
  <Application>Microsoft Office PowerPoint</Application>
  <PresentationFormat>Custom</PresentationFormat>
  <Paragraphs>396</Paragraphs>
  <Slides>22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2013_powerpoint_master</vt:lpstr>
      <vt:lpstr>WACKER ACADEMY</vt:lpstr>
      <vt:lpstr>1_2013_powerpoint_master</vt:lpstr>
      <vt:lpstr>2_2013_powerpoint_master</vt:lpstr>
      <vt:lpstr>3_2013_powerpoint_master</vt:lpstr>
      <vt:lpstr>4_2013_powerpoint_master</vt:lpstr>
      <vt:lpstr>5_2013_powerpoint_master</vt:lpstr>
      <vt:lpstr>6_2013_powerpoint_master</vt:lpstr>
      <vt:lpstr>think-cell Folie</vt:lpstr>
      <vt:lpstr>CS ChemDraw Drawing</vt:lpstr>
      <vt:lpstr>Новинки Wacker в средствах по уходу за волосами   Алексей Бударагин, ООО Вакер Хеми Рус</vt:lpstr>
      <vt:lpstr>Свыше 100 лет успеха</vt:lpstr>
      <vt:lpstr>Косметические силиконы WACKER  представлены во всём мире</vt:lpstr>
      <vt:lpstr>Косметические силиконы – портфолио </vt:lpstr>
      <vt:lpstr>BELSIL® PF 200 –  усилитель блеска волос, совместимый с водной фазой</vt:lpstr>
      <vt:lpstr>BELSIL® PF 200   Новая технология блеска от WACKER</vt:lpstr>
      <vt:lpstr>BELSIL® PF 200 – новая технология усиления блеска</vt:lpstr>
      <vt:lpstr>Прозрачный шампунь для блеска волос</vt:lpstr>
      <vt:lpstr>Высокая стабильность системы при хранении</vt:lpstr>
      <vt:lpstr>Заметное повышение блеска волос при использовании прозрачного шампуня на основе BELSIL® PF 200</vt:lpstr>
      <vt:lpstr>Превосходные потребительские свойства шампуня  с BELSIL® PF 200</vt:lpstr>
      <vt:lpstr>Область применения BELSIL® PF 200</vt:lpstr>
      <vt:lpstr>2-хфазный спрей для лёгкого расчёсывания волос</vt:lpstr>
      <vt:lpstr>2-хфазный спрей для лёгкого расчёсывания волос</vt:lpstr>
      <vt:lpstr>Портфолио силиконов WACKER для придания блеска</vt:lpstr>
      <vt:lpstr>Защитная маска с эффектом сияния волос</vt:lpstr>
      <vt:lpstr>BELSIL® ADM 8301 E для стойкости цвета и термозащиты</vt:lpstr>
      <vt:lpstr>BELSIL® ADM 8301 E –  неиногенная аминофункциональная микроэмульсия</vt:lpstr>
      <vt:lpstr>Ключевые преимущества BELSIL® ADM 8301 E </vt:lpstr>
      <vt:lpstr>BELSIL® ADM 8301 E в прозрачных шампунях</vt:lpstr>
      <vt:lpstr>Прозрачный шампунь SLES (14%), CAPB (3%), Cocamide MEA (1%)</vt:lpstr>
      <vt:lpstr>Спасибо за внимание! </vt:lpstr>
    </vt:vector>
  </TitlesOfParts>
  <Company>Wack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er, Dr. Gerhard</dc:creator>
  <cp:lastModifiedBy>Budaragin, Aleksei</cp:lastModifiedBy>
  <cp:revision>388</cp:revision>
  <cp:lastPrinted>2016-08-03T12:27:06Z</cp:lastPrinted>
  <dcterms:created xsi:type="dcterms:W3CDTF">2014-02-04T08:12:11Z</dcterms:created>
  <dcterms:modified xsi:type="dcterms:W3CDTF">2017-09-20T05:3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EF752C6241E446879002E1CC8F2A9400372866B19C932442BB8501C77B9A67F5</vt:lpwstr>
  </property>
</Properties>
</file>